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 bookmarkIdSeed="26">
  <p:sldMasterIdLst>
    <p:sldMasterId id="2147483700" r:id="rId4"/>
    <p:sldMasterId id="2147483728" r:id="rId5"/>
  </p:sldMasterIdLst>
  <p:notesMasterIdLst>
    <p:notesMasterId r:id="rId19"/>
  </p:notesMasterIdLst>
  <p:handoutMasterIdLst>
    <p:handoutMasterId r:id="rId20"/>
  </p:handoutMasterIdLst>
  <p:sldIdLst>
    <p:sldId id="1151" r:id="rId6"/>
    <p:sldId id="1213" r:id="rId7"/>
    <p:sldId id="1214" r:id="rId8"/>
    <p:sldId id="1204" r:id="rId9"/>
    <p:sldId id="1205" r:id="rId10"/>
    <p:sldId id="1206" r:id="rId11"/>
    <p:sldId id="1207" r:id="rId12"/>
    <p:sldId id="1208" r:id="rId13"/>
    <p:sldId id="1209" r:id="rId14"/>
    <p:sldId id="1210" r:id="rId15"/>
    <p:sldId id="1211" r:id="rId16"/>
    <p:sldId id="1212" r:id="rId17"/>
    <p:sldId id="1194" r:id="rId18"/>
  </p:sldIdLst>
  <p:sldSz cx="12192000" cy="6858000"/>
  <p:notesSz cx="6985000" cy="92837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4" userDrawn="1">
          <p15:clr>
            <a:srgbClr val="A4A3A4"/>
          </p15:clr>
        </p15:guide>
        <p15:guide id="2" orient="horz" pos="2520" userDrawn="1">
          <p15:clr>
            <a:srgbClr val="A4A3A4"/>
          </p15:clr>
        </p15:guide>
        <p15:guide id="3" orient="horz" pos="4008" userDrawn="1">
          <p15:clr>
            <a:srgbClr val="A4A3A4"/>
          </p15:clr>
        </p15:guide>
        <p15:guide id="4" orient="horz" pos="531" userDrawn="1">
          <p15:clr>
            <a:srgbClr val="A4A3A4"/>
          </p15:clr>
        </p15:guide>
        <p15:guide id="5" orient="horz" pos="1776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320" userDrawn="1">
          <p15:clr>
            <a:srgbClr val="A4A3A4"/>
          </p15:clr>
        </p15:guide>
        <p15:guide id="8" pos="7360" userDrawn="1">
          <p15:clr>
            <a:srgbClr val="A4A3A4"/>
          </p15:clr>
        </p15:guide>
        <p15:guide id="9" pos="3765" userDrawn="1">
          <p15:clr>
            <a:srgbClr val="A4A3A4"/>
          </p15:clr>
        </p15:guide>
        <p15:guide id="10" pos="3915" userDrawn="1">
          <p15:clr>
            <a:srgbClr val="A4A3A4"/>
          </p15:clr>
        </p15:guide>
        <p15:guide id="11" pos="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4" userDrawn="1">
          <p15:clr>
            <a:srgbClr val="A4A3A4"/>
          </p15:clr>
        </p15:guide>
        <p15:guide id="2" pos="220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Lundin, Kyle" initials="LK" lastIdx="3" clrIdx="6">
    <p:extLst>
      <p:ext uri="{19B8F6BF-5375-455C-9EA6-DF929625EA0E}">
        <p15:presenceInfo xmlns:p15="http://schemas.microsoft.com/office/powerpoint/2012/main" userId="S-1-5-21-238447276-1040861923-1850952788-1846279" providerId="AD"/>
      </p:ext>
    </p:extLst>
  </p:cmAuthor>
  <p:cmAuthor id="1" name="Wesley, Stewart" initials="SW" lastIdx="4" clrIdx="0"/>
  <p:cmAuthor id="8" name="Tunde Gbajumo" initials="TG" lastIdx="4" clrIdx="7">
    <p:extLst>
      <p:ext uri="{19B8F6BF-5375-455C-9EA6-DF929625EA0E}">
        <p15:presenceInfo xmlns:p15="http://schemas.microsoft.com/office/powerpoint/2012/main" userId="S::tgbajumo@pa-npsp.org::c10ed06a-41ca-460a-978a-d2200b18d375" providerId="AD"/>
      </p:ext>
    </p:extLst>
  </p:cmAuthor>
  <p:cmAuthor id="2" name="Willem" initials="W" lastIdx="6" clrIdx="1"/>
  <p:cmAuthor id="9" name="Lundin, Kyle" initials="LK [2]" lastIdx="1" clrIdx="8">
    <p:extLst>
      <p:ext uri="{19B8F6BF-5375-455C-9EA6-DF929625EA0E}">
        <p15:presenceInfo xmlns:p15="http://schemas.microsoft.com/office/powerpoint/2012/main" userId="S::kylundin@deloitte.com::00c6bbbc-a199-44a4-abf8-8bb52a690cf6" providerId="AD"/>
      </p:ext>
    </p:extLst>
  </p:cmAuthor>
  <p:cmAuthor id="3" name="Prim, Colbye" initials="CP" lastIdx="4" clrIdx="2"/>
  <p:cmAuthor id="10" name="Ofuase James" initials="CJO" lastIdx="2" clrIdx="9">
    <p:extLst>
      <p:ext uri="{19B8F6BF-5375-455C-9EA6-DF929625EA0E}">
        <p15:presenceInfo xmlns:p15="http://schemas.microsoft.com/office/powerpoint/2012/main" userId="Ofuase James" providerId="None"/>
      </p:ext>
    </p:extLst>
  </p:cmAuthor>
  <p:cmAuthor id="4" name="Johnson, Cole (US - Arlington)" initials="JC(-A" lastIdx="53" clrIdx="3">
    <p:extLst>
      <p:ext uri="{19B8F6BF-5375-455C-9EA6-DF929625EA0E}">
        <p15:presenceInfo xmlns:p15="http://schemas.microsoft.com/office/powerpoint/2012/main" userId="S-1-5-21-238447276-1040861923-1850952788-1914346" providerId="AD"/>
      </p:ext>
    </p:extLst>
  </p:cmAuthor>
  <p:cmAuthor id="5" name="M K, Balaji" initials="BM" lastIdx="4" clrIdx="4">
    <p:extLst>
      <p:ext uri="{19B8F6BF-5375-455C-9EA6-DF929625EA0E}">
        <p15:presenceInfo xmlns:p15="http://schemas.microsoft.com/office/powerpoint/2012/main" userId="M K, Balaji" providerId="None"/>
      </p:ext>
    </p:extLst>
  </p:cmAuthor>
  <p:cmAuthor id="6" name="Administrator" initials="A" lastIdx="12" clrIdx="5">
    <p:extLst>
      <p:ext uri="{19B8F6BF-5375-455C-9EA6-DF929625EA0E}">
        <p15:presenceInfo xmlns:p15="http://schemas.microsoft.com/office/powerpoint/2012/main" userId="Administrato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EAEA"/>
    <a:srgbClr val="D8E5F5"/>
    <a:srgbClr val="F8F5FB"/>
    <a:srgbClr val="C2113A"/>
    <a:srgbClr val="FFFFFF"/>
    <a:srgbClr val="E7E8EB"/>
    <a:srgbClr val="FFFEFD"/>
    <a:srgbClr val="DDDDDD"/>
    <a:srgbClr val="000000"/>
    <a:srgbClr val="C7C7C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854" autoAdjust="0"/>
    <p:restoredTop sz="93883" autoAdjust="0"/>
  </p:normalViewPr>
  <p:slideViewPr>
    <p:cSldViewPr snapToGrid="0" showGuides="1">
      <p:cViewPr varScale="1">
        <p:scale>
          <a:sx n="121" d="100"/>
          <a:sy n="121" d="100"/>
        </p:scale>
        <p:origin x="760" y="176"/>
      </p:cViewPr>
      <p:guideLst>
        <p:guide orient="horz" pos="244"/>
        <p:guide orient="horz" pos="2520"/>
        <p:guide orient="horz" pos="4008"/>
        <p:guide orient="horz" pos="531"/>
        <p:guide orient="horz" pos="1776"/>
        <p:guide pos="3840"/>
        <p:guide pos="320"/>
        <p:guide pos="7360"/>
        <p:guide pos="3765"/>
        <p:guide pos="3915"/>
        <p:guide pos="8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41" d="100"/>
          <a:sy n="41" d="100"/>
        </p:scale>
        <p:origin x="2790" y="54"/>
      </p:cViewPr>
      <p:guideLst>
        <p:guide orient="horz" pos="2924"/>
        <p:guide pos="220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848826577263029E-2"/>
          <c:y val="6.2841530054644809E-2"/>
          <c:w val="0.96830234684547389"/>
          <c:h val="0.91686182669789229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88D-4C01-8BBD-84C65529296E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88D-4C01-8BBD-84C65529296E}"/>
              </c:ext>
            </c:extLst>
          </c:dPt>
          <c:dLbls>
            <c:dLbl>
              <c:idx val="0"/>
              <c:layout>
                <c:manualLayout>
                  <c:x val="0"/>
                  <c:y val="-0.272443403590944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88D-4C01-8BBD-84C65529296E}"/>
                </c:ext>
              </c:extLst>
            </c:dLbl>
            <c:dLbl>
              <c:idx val="4"/>
              <c:layout>
                <c:manualLayout>
                  <c:x val="0"/>
                  <c:y val="-0.4898516783762685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88D-4C01-8BBD-84C65529296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0</c:v>
                </c:pt>
                <c:pt idx="1">
                  <c:v>10</c:v>
                </c:pt>
                <c:pt idx="2">
                  <c:v>13</c:v>
                </c:pt>
                <c:pt idx="3">
                  <c:v>15</c:v>
                </c:pt>
                <c:pt idx="4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88D-4C01-8BBD-84C65529296E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-1.17096018735363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88D-4C01-8BBD-84C65529296E}"/>
                </c:ext>
              </c:extLst>
            </c:dLbl>
            <c:dLbl>
              <c:idx val="2"/>
              <c:layout>
                <c:manualLayout>
                  <c:x val="0"/>
                  <c:y val="-1.17096018735363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88D-4C01-8BBD-84C65529296E}"/>
                </c:ext>
              </c:extLst>
            </c:dLbl>
            <c:dLbl>
              <c:idx val="3"/>
              <c:layout>
                <c:manualLayout>
                  <c:x val="0"/>
                  <c:y val="-1.17096018735363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A88D-4C01-8BBD-84C65529296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1">
                  <c:v>3</c:v>
                </c:pt>
                <c:pt idx="2">
                  <c:v>2</c:v>
                </c:pt>
                <c:pt idx="3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88D-4C01-8BBD-84C6552929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54818456"/>
        <c:axId val="1"/>
      </c:barChart>
      <c:catAx>
        <c:axId val="5548184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5481845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2"/>
            <a:ext cx="3027041" cy="463681"/>
          </a:xfrm>
          <a:prstGeom prst="rect">
            <a:avLst/>
          </a:prstGeom>
        </p:spPr>
        <p:txBody>
          <a:bodyPr vert="horz" lIns="87431" tIns="43716" rIns="87431" bIns="43716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56398" y="2"/>
            <a:ext cx="3027041" cy="463681"/>
          </a:xfrm>
          <a:prstGeom prst="rect">
            <a:avLst/>
          </a:prstGeom>
        </p:spPr>
        <p:txBody>
          <a:bodyPr vert="horz" lIns="87431" tIns="43716" rIns="87431" bIns="43716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4/8/23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8818581"/>
            <a:ext cx="3027041" cy="463681"/>
          </a:xfrm>
          <a:prstGeom prst="rect">
            <a:avLst/>
          </a:prstGeom>
        </p:spPr>
        <p:txBody>
          <a:bodyPr vert="horz" lIns="87431" tIns="43716" rIns="87431" bIns="43716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6398" y="8818581"/>
            <a:ext cx="3027041" cy="463681"/>
          </a:xfrm>
          <a:prstGeom prst="rect">
            <a:avLst/>
          </a:prstGeom>
        </p:spPr>
        <p:txBody>
          <a:bodyPr vert="horz" lIns="87431" tIns="43716" rIns="87431" bIns="43716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26833" cy="464185"/>
          </a:xfrm>
          <a:prstGeom prst="rect">
            <a:avLst/>
          </a:prstGeom>
        </p:spPr>
        <p:txBody>
          <a:bodyPr vert="horz" lIns="94706" tIns="47352" rIns="94706" bIns="47352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6552" y="1"/>
            <a:ext cx="3026833" cy="464185"/>
          </a:xfrm>
          <a:prstGeom prst="rect">
            <a:avLst/>
          </a:prstGeom>
        </p:spPr>
        <p:txBody>
          <a:bodyPr vert="horz" lIns="94706" tIns="47352" rIns="94706" bIns="47352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4/8/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0050" y="696913"/>
            <a:ext cx="6184900" cy="3479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06" tIns="47352" rIns="94706" bIns="47352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500" y="4409758"/>
            <a:ext cx="5588000" cy="4177665"/>
          </a:xfrm>
          <a:prstGeom prst="rect">
            <a:avLst/>
          </a:prstGeom>
        </p:spPr>
        <p:txBody>
          <a:bodyPr vert="horz" lIns="94706" tIns="47352" rIns="94706" bIns="47352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17905"/>
            <a:ext cx="3026833" cy="464185"/>
          </a:xfrm>
          <a:prstGeom prst="rect">
            <a:avLst/>
          </a:prstGeom>
        </p:spPr>
        <p:txBody>
          <a:bodyPr vert="horz" lIns="94706" tIns="47352" rIns="94706" bIns="47352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6552" y="8817905"/>
            <a:ext cx="3026833" cy="464185"/>
          </a:xfrm>
          <a:prstGeom prst="rect">
            <a:avLst/>
          </a:prstGeom>
        </p:spPr>
        <p:txBody>
          <a:bodyPr vert="horz" lIns="94706" tIns="47352" rIns="94706" bIns="47352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text only or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52347D-A1BD-466C-AC33-29B61A3E69A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914400" y="1767210"/>
            <a:ext cx="6946537" cy="1890394"/>
          </a:xfrm>
        </p:spPr>
        <p:txBody>
          <a:bodyPr anchor="b" anchorCtr="0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 rot="16200000">
            <a:off x="10697289" y="1436283"/>
            <a:ext cx="2743200" cy="175433"/>
          </a:xfrm>
        </p:spPr>
        <p:txBody>
          <a:bodyPr>
            <a:spAutoFit/>
          </a:bodyPr>
          <a:lstStyle>
            <a:lvl1pPr marL="0" indent="0" algn="r">
              <a:buNone/>
              <a:defRPr sz="600" cap="all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4027710"/>
            <a:ext cx="4572000" cy="1600200"/>
          </a:xfrm>
          <a:effectLst>
            <a:outerShdw blurRad="254000" dir="5400000" algn="tl" rotWithShape="0">
              <a:srgbClr val="0000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1016000" y="3842657"/>
            <a:ext cx="42672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5321436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531429"/>
            <a:ext cx="4114800" cy="190046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2347D-A1BD-466C-AC33-29B61A3E69A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3413125"/>
            <a:ext cx="12192000" cy="3444875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838200" y="1407613"/>
            <a:ext cx="10515600" cy="1779724"/>
          </a:xfrm>
        </p:spPr>
        <p:txBody>
          <a:bodyPr/>
          <a:lstStyle>
            <a:lvl1pPr>
              <a:defRPr lang="en-US" sz="20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8975" indent="-285750">
              <a:buFont typeface="Arial" panose="020B0604020202020204" pitchFamily="34" charset="0"/>
              <a:buChar char="-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01638" indent="-285750">
              <a:defRPr lang="en-US" sz="15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marL="0" lv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marL="0" lvl="1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466339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531429"/>
            <a:ext cx="4114800" cy="190046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2347D-A1BD-466C-AC33-29B61A3E69A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3413125"/>
            <a:ext cx="12192000" cy="344487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838200" y="1407613"/>
            <a:ext cx="10515600" cy="1779724"/>
          </a:xfrm>
        </p:spPr>
        <p:txBody>
          <a:bodyPr/>
          <a:lstStyle>
            <a:lvl1pPr>
              <a:defRPr lang="en-US" sz="20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8975" indent="-285750">
              <a:buFont typeface="Arial" panose="020B0604020202020204" pitchFamily="34" charset="0"/>
              <a:buChar char="-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01638" indent="-285750">
              <a:defRPr lang="en-US" sz="15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marL="0" lv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marL="0" lvl="1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4738666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4876800" cy="13678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34333"/>
            <a:ext cx="4876800" cy="4351338"/>
          </a:xfrm>
        </p:spPr>
        <p:txBody>
          <a:bodyPr/>
          <a:lstStyle>
            <a:lvl1pPr>
              <a:defRPr lang="en-US" sz="20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8975" indent="-285750">
              <a:buFont typeface="Arial" panose="020B0604020202020204" pitchFamily="34" charset="0"/>
              <a:buChar char="-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01638" indent="-285750">
              <a:defRPr lang="en-US" sz="15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marL="0" lv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marL="0" lvl="1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</p:txBody>
      </p:sp>
      <p:sp>
        <p:nvSpPr>
          <p:cNvPr id="7" name="Date Placeholder 2"/>
          <p:cNvSpPr txBox="1">
            <a:spLocks/>
          </p:cNvSpPr>
          <p:nvPr userDrawn="1"/>
        </p:nvSpPr>
        <p:spPr>
          <a:xfrm>
            <a:off x="2032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600" b="0" i="0" kern="1200">
                <a:solidFill>
                  <a:srgbClr val="FFFFFF"/>
                </a:solidFill>
                <a:latin typeface="Gill Sans MT"/>
                <a:ea typeface="+mn-ea"/>
                <a:cs typeface="Gill Sans M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349C05-927F-3348-96DF-9086CF2761D6}" type="datetime1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ill Sans MT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8/23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ill Sans MT"/>
              <a:ea typeface="+mn-ea"/>
            </a:endParaRPr>
          </a:p>
        </p:txBody>
      </p:sp>
      <p:sp>
        <p:nvSpPr>
          <p:cNvPr id="8" name="Footer Placeholder 3"/>
          <p:cNvSpPr txBox="1">
            <a:spLocks/>
          </p:cNvSpPr>
          <p:nvPr userDrawn="1"/>
        </p:nvSpPr>
        <p:spPr>
          <a:xfrm>
            <a:off x="4165600" y="6530079"/>
            <a:ext cx="3860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marL="0" algn="ctr" defTabSz="457200" rtl="0" eaLnBrk="1" latinLnBrk="0" hangingPunct="1">
              <a:defRPr sz="600" b="0" i="0" kern="1200">
                <a:solidFill>
                  <a:srgbClr val="FFFFFF"/>
                </a:solidFill>
                <a:latin typeface="Gill Sans MT"/>
                <a:ea typeface="+mn-ea"/>
                <a:cs typeface="Gill Sans M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ill Sans MT"/>
                <a:ea typeface="+mn-ea"/>
              </a:rPr>
              <a:t>FOOTER GOES HERE</a:t>
            </a:r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91440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b="0" i="0" kern="1200">
                <a:solidFill>
                  <a:srgbClr val="FFFFFF"/>
                </a:solidFill>
                <a:latin typeface="Gill Sans MT"/>
                <a:ea typeface="+mn-ea"/>
                <a:cs typeface="Gill Sans M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782948-4DBE-204D-AB9E-B65E067054AE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ill Sans MT"/>
                <a:ea typeface="+mn-ea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ill Sans MT"/>
              <a:ea typeface="+mn-ea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6072717" y="0"/>
            <a:ext cx="6119283" cy="6858000"/>
          </a:xfrm>
          <a:solidFill>
            <a:schemeClr val="bg1"/>
          </a:solidFill>
        </p:spPr>
        <p:txBody>
          <a:bodyPr>
            <a:normAutofit/>
          </a:bodyPr>
          <a:lstStyle>
            <a:lvl1pPr>
              <a:defRPr sz="1400" cap="all" baseline="0"/>
            </a:lvl1pPr>
          </a:lstStyle>
          <a:p>
            <a:r>
              <a:rPr lang="en-US" dirty="0"/>
              <a:t>Insert photo</a:t>
            </a:r>
          </a:p>
        </p:txBody>
      </p:sp>
    </p:spTree>
    <p:extLst>
      <p:ext uri="{BB962C8B-B14F-4D97-AF65-F5344CB8AC3E}">
        <p14:creationId xmlns:p14="http://schemas.microsoft.com/office/powerpoint/2010/main" val="4643024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4876800" cy="13678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34333"/>
            <a:ext cx="4876800" cy="4351338"/>
          </a:xfrm>
        </p:spPr>
        <p:txBody>
          <a:bodyPr/>
          <a:lstStyle>
            <a:lvl1pPr>
              <a:defRPr lang="en-US" sz="20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8975" indent="-285750">
              <a:buFont typeface="Arial" panose="020B0604020202020204" pitchFamily="34" charset="0"/>
              <a:buChar char="-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01638" indent="-285750">
              <a:defRPr lang="en-US" sz="15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marL="0" lv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marL="0" lvl="1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</p:txBody>
      </p:sp>
      <p:sp>
        <p:nvSpPr>
          <p:cNvPr id="7" name="Date Placeholder 2"/>
          <p:cNvSpPr txBox="1">
            <a:spLocks/>
          </p:cNvSpPr>
          <p:nvPr userDrawn="1"/>
        </p:nvSpPr>
        <p:spPr>
          <a:xfrm>
            <a:off x="2032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600" b="0" i="0" kern="1200">
                <a:solidFill>
                  <a:srgbClr val="FFFFFF"/>
                </a:solidFill>
                <a:latin typeface="Gill Sans MT"/>
                <a:ea typeface="+mn-ea"/>
                <a:cs typeface="Gill Sans M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349C05-927F-3348-96DF-9086CF2761D6}" type="datetime1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ill Sans MT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8/23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ill Sans MT"/>
              <a:ea typeface="+mn-ea"/>
            </a:endParaRPr>
          </a:p>
        </p:txBody>
      </p:sp>
      <p:sp>
        <p:nvSpPr>
          <p:cNvPr id="8" name="Footer Placeholder 3"/>
          <p:cNvSpPr txBox="1">
            <a:spLocks/>
          </p:cNvSpPr>
          <p:nvPr userDrawn="1"/>
        </p:nvSpPr>
        <p:spPr>
          <a:xfrm>
            <a:off x="4165600" y="6530079"/>
            <a:ext cx="3860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marL="0" algn="ctr" defTabSz="457200" rtl="0" eaLnBrk="1" latinLnBrk="0" hangingPunct="1">
              <a:defRPr sz="600" b="0" i="0" kern="1200">
                <a:solidFill>
                  <a:srgbClr val="FFFFFF"/>
                </a:solidFill>
                <a:latin typeface="Gill Sans MT"/>
                <a:ea typeface="+mn-ea"/>
                <a:cs typeface="Gill Sans M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ill Sans MT"/>
                <a:ea typeface="+mn-ea"/>
              </a:rPr>
              <a:t>FOOTER GOES HERE</a:t>
            </a:r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91440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b="0" i="0" kern="1200">
                <a:solidFill>
                  <a:srgbClr val="FFFFFF"/>
                </a:solidFill>
                <a:latin typeface="Gill Sans MT"/>
                <a:ea typeface="+mn-ea"/>
                <a:cs typeface="Gill Sans M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782948-4DBE-204D-AB9E-B65E067054AE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ill Sans MT"/>
                <a:ea typeface="+mn-ea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ill Sans MT"/>
              <a:ea typeface="+mn-ea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6084359" y="0"/>
            <a:ext cx="6119283" cy="6858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400" cap="all" baseline="0"/>
            </a:lvl1pPr>
          </a:lstStyle>
          <a:p>
            <a:r>
              <a:rPr lang="en-US" dirty="0"/>
              <a:t>Insert photo</a:t>
            </a:r>
          </a:p>
        </p:txBody>
      </p:sp>
    </p:spTree>
    <p:extLst>
      <p:ext uri="{BB962C8B-B14F-4D97-AF65-F5344CB8AC3E}">
        <p14:creationId xmlns:p14="http://schemas.microsoft.com/office/powerpoint/2010/main" val="19442892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97469" y="365126"/>
            <a:ext cx="4876800" cy="13678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97469" y="1834333"/>
            <a:ext cx="4876800" cy="4351338"/>
          </a:xfrm>
        </p:spPr>
        <p:txBody>
          <a:bodyPr/>
          <a:lstStyle>
            <a:lvl1pPr>
              <a:defRPr lang="en-US" sz="20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8975" indent="-285750">
              <a:buFont typeface="Arial" panose="020B0604020202020204" pitchFamily="34" charset="0"/>
              <a:buChar char="-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01638" indent="-285750">
              <a:defRPr lang="en-US" sz="15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marL="0" lv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marL="0" lvl="1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</p:txBody>
      </p:sp>
      <p:sp>
        <p:nvSpPr>
          <p:cNvPr id="7" name="Date Placeholder 2"/>
          <p:cNvSpPr txBox="1">
            <a:spLocks/>
          </p:cNvSpPr>
          <p:nvPr userDrawn="1"/>
        </p:nvSpPr>
        <p:spPr>
          <a:xfrm>
            <a:off x="2032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600" b="0" i="0" kern="1200">
                <a:solidFill>
                  <a:srgbClr val="FFFFFF"/>
                </a:solidFill>
                <a:latin typeface="Gill Sans MT"/>
                <a:ea typeface="+mn-ea"/>
                <a:cs typeface="Gill Sans M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349C05-927F-3348-96DF-9086CF2761D6}" type="datetime1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ill Sans MT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8/23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ill Sans MT"/>
              <a:ea typeface="+mn-ea"/>
            </a:endParaRPr>
          </a:p>
        </p:txBody>
      </p:sp>
      <p:sp>
        <p:nvSpPr>
          <p:cNvPr id="8" name="Footer Placeholder 3"/>
          <p:cNvSpPr txBox="1">
            <a:spLocks/>
          </p:cNvSpPr>
          <p:nvPr userDrawn="1"/>
        </p:nvSpPr>
        <p:spPr>
          <a:xfrm>
            <a:off x="4165600" y="6530079"/>
            <a:ext cx="3860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marL="0" algn="ctr" defTabSz="457200" rtl="0" eaLnBrk="1" latinLnBrk="0" hangingPunct="1">
              <a:defRPr sz="600" b="0" i="0" kern="1200">
                <a:solidFill>
                  <a:srgbClr val="FFFFFF"/>
                </a:solidFill>
                <a:latin typeface="Gill Sans MT"/>
                <a:ea typeface="+mn-ea"/>
                <a:cs typeface="Gill Sans M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ill Sans MT"/>
                <a:ea typeface="+mn-ea"/>
              </a:rPr>
              <a:t>FOOTER GOES HERE</a:t>
            </a:r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91440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b="0" i="0" kern="1200">
                <a:solidFill>
                  <a:srgbClr val="FFFFFF"/>
                </a:solidFill>
                <a:latin typeface="Gill Sans MT"/>
                <a:ea typeface="+mn-ea"/>
                <a:cs typeface="Gill Sans M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782948-4DBE-204D-AB9E-B65E067054AE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ill Sans MT"/>
                <a:ea typeface="+mn-ea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ill Sans MT"/>
              <a:ea typeface="+mn-ea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119283" cy="6858000"/>
          </a:xfrm>
          <a:solidFill>
            <a:schemeClr val="bg1"/>
          </a:solidFill>
        </p:spPr>
        <p:txBody>
          <a:bodyPr>
            <a:normAutofit/>
          </a:bodyPr>
          <a:lstStyle>
            <a:lvl1pPr>
              <a:defRPr sz="1400" cap="all" baseline="0"/>
            </a:lvl1pPr>
          </a:lstStyle>
          <a:p>
            <a:r>
              <a:rPr lang="en-US" dirty="0"/>
              <a:t>Insert photo</a:t>
            </a:r>
          </a:p>
        </p:txBody>
      </p:sp>
    </p:spTree>
    <p:extLst>
      <p:ext uri="{BB962C8B-B14F-4D97-AF65-F5344CB8AC3E}">
        <p14:creationId xmlns:p14="http://schemas.microsoft.com/office/powerpoint/2010/main" val="35939886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97469" y="365126"/>
            <a:ext cx="4876800" cy="13678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97469" y="1834333"/>
            <a:ext cx="4876800" cy="4351338"/>
          </a:xfrm>
        </p:spPr>
        <p:txBody>
          <a:bodyPr/>
          <a:lstStyle>
            <a:lvl1pPr>
              <a:defRPr lang="en-US" sz="20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8975" indent="-285750">
              <a:buFont typeface="Arial" panose="020B0604020202020204" pitchFamily="34" charset="0"/>
              <a:buChar char="-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01638" indent="-285750">
              <a:defRPr lang="en-US" sz="15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marL="0" lv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marL="0" lvl="1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</p:txBody>
      </p:sp>
      <p:sp>
        <p:nvSpPr>
          <p:cNvPr id="7" name="Date Placeholder 2"/>
          <p:cNvSpPr txBox="1">
            <a:spLocks/>
          </p:cNvSpPr>
          <p:nvPr userDrawn="1"/>
        </p:nvSpPr>
        <p:spPr>
          <a:xfrm>
            <a:off x="2032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600" b="0" i="0" kern="1200">
                <a:solidFill>
                  <a:srgbClr val="FFFFFF"/>
                </a:solidFill>
                <a:latin typeface="Gill Sans MT"/>
                <a:ea typeface="+mn-ea"/>
                <a:cs typeface="Gill Sans M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349C05-927F-3348-96DF-9086CF2761D6}" type="datetime1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ill Sans MT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8/23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ill Sans MT"/>
              <a:ea typeface="+mn-ea"/>
            </a:endParaRPr>
          </a:p>
        </p:txBody>
      </p:sp>
      <p:sp>
        <p:nvSpPr>
          <p:cNvPr id="8" name="Footer Placeholder 3"/>
          <p:cNvSpPr txBox="1">
            <a:spLocks/>
          </p:cNvSpPr>
          <p:nvPr userDrawn="1"/>
        </p:nvSpPr>
        <p:spPr>
          <a:xfrm>
            <a:off x="4165600" y="6530079"/>
            <a:ext cx="3860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marL="0" algn="ctr" defTabSz="457200" rtl="0" eaLnBrk="1" latinLnBrk="0" hangingPunct="1">
              <a:defRPr sz="600" b="0" i="0" kern="1200">
                <a:solidFill>
                  <a:srgbClr val="FFFFFF"/>
                </a:solidFill>
                <a:latin typeface="Gill Sans MT"/>
                <a:ea typeface="+mn-ea"/>
                <a:cs typeface="Gill Sans M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ill Sans MT"/>
                <a:ea typeface="+mn-ea"/>
              </a:rPr>
              <a:t>FOOTER GOES HERE</a:t>
            </a:r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91440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b="0" i="0" kern="1200">
                <a:solidFill>
                  <a:srgbClr val="FFFFFF"/>
                </a:solidFill>
                <a:latin typeface="Gill Sans MT"/>
                <a:ea typeface="+mn-ea"/>
                <a:cs typeface="Gill Sans M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782948-4DBE-204D-AB9E-B65E067054AE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ill Sans MT"/>
                <a:ea typeface="+mn-ea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ill Sans MT"/>
              <a:ea typeface="+mn-ea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119283" cy="6858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400" cap="all" baseline="0"/>
            </a:lvl1pPr>
          </a:lstStyle>
          <a:p>
            <a:r>
              <a:rPr lang="en-US" dirty="0"/>
              <a:t>Insert photo</a:t>
            </a:r>
          </a:p>
        </p:txBody>
      </p:sp>
    </p:spTree>
    <p:extLst>
      <p:ext uri="{BB962C8B-B14F-4D97-AF65-F5344CB8AC3E}">
        <p14:creationId xmlns:p14="http://schemas.microsoft.com/office/powerpoint/2010/main" val="7927189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_4-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7680" y="1180511"/>
            <a:ext cx="11216640" cy="399052"/>
          </a:xfrm>
        </p:spPr>
        <p:txBody>
          <a:bodyPr>
            <a:noAutofit/>
          </a:bodyPr>
          <a:lstStyle>
            <a:lvl1pPr marL="0" indent="0">
              <a:buNone/>
              <a:defRPr sz="2000" b="0" cap="all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87680" y="295683"/>
            <a:ext cx="11216640" cy="72131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6"/>
          </p:nvPr>
        </p:nvSpPr>
        <p:spPr>
          <a:xfrm>
            <a:off x="486464" y="1703388"/>
            <a:ext cx="5486400" cy="2286000"/>
          </a:xfrm>
          <a:solidFill>
            <a:schemeClr val="bg1"/>
          </a:solidFill>
          <a:ln>
            <a:solidFill>
              <a:schemeClr val="accent3"/>
            </a:solidFill>
          </a:ln>
        </p:spPr>
        <p:txBody>
          <a:bodyPr lIns="91440" tIns="91440" rIns="91440" bIns="9144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quarter" idx="17"/>
          </p:nvPr>
        </p:nvSpPr>
        <p:spPr>
          <a:xfrm>
            <a:off x="6218288" y="1703388"/>
            <a:ext cx="5486400" cy="2286000"/>
          </a:xfrm>
          <a:solidFill>
            <a:schemeClr val="bg1"/>
          </a:solidFill>
          <a:ln>
            <a:solidFill>
              <a:schemeClr val="accent3"/>
            </a:solidFill>
          </a:ln>
        </p:spPr>
        <p:txBody>
          <a:bodyPr lIns="91440" tIns="91440" rIns="91440" bIns="9144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486464" y="4113213"/>
            <a:ext cx="5486400" cy="2286000"/>
          </a:xfrm>
          <a:solidFill>
            <a:schemeClr val="bg1"/>
          </a:solidFill>
          <a:ln>
            <a:solidFill>
              <a:schemeClr val="accent3"/>
            </a:solidFill>
          </a:ln>
        </p:spPr>
        <p:txBody>
          <a:bodyPr lIns="91440" tIns="91440" rIns="91440" bIns="9144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6218288" y="4113213"/>
            <a:ext cx="5486400" cy="2286000"/>
          </a:xfrm>
          <a:solidFill>
            <a:schemeClr val="bg1"/>
          </a:solidFill>
          <a:ln>
            <a:solidFill>
              <a:schemeClr val="accent3"/>
            </a:solidFill>
          </a:ln>
        </p:spPr>
        <p:txBody>
          <a:bodyPr lIns="91440" tIns="91440" rIns="91440" bIns="9144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142817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head &amp;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14721" y="1353312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914971" y="466344"/>
            <a:ext cx="3355848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 dirty="0"/>
              <a:t>BREADCRUMB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2A79812-E93E-4624-9443-F0500D3380E9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E61B70-0650-4D1C-9118-C2276073062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/>
              <a:t>Company Name, CONFIDENTIAL, </a:t>
            </a:r>
            <a:fld id="{6652347D-A1BD-466C-AC33-29B61A3E69A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00459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0866" y="167415"/>
            <a:ext cx="11670271" cy="836657"/>
          </a:xfrm>
        </p:spPr>
        <p:txBody>
          <a:bodyPr anchor="t"/>
          <a:lstStyle>
            <a:lvl1pPr>
              <a:defRPr>
                <a:latin typeface="Gill San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0866" y="1407613"/>
            <a:ext cx="11670271" cy="4351338"/>
          </a:xfrm>
        </p:spPr>
        <p:txBody>
          <a:bodyPr/>
          <a:lstStyle>
            <a:lvl1pPr>
              <a:defRPr lang="en-US" sz="20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ill Sans"/>
                <a:ea typeface="+mn-ea"/>
                <a:cs typeface="+mn-cs"/>
              </a:defRPr>
            </a:lvl1pPr>
            <a:lvl2pPr marL="688975" indent="-285750">
              <a:buFont typeface="Arial" panose="020B0604020202020204" pitchFamily="34" charset="0"/>
              <a:buChar char="-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ill Sans"/>
                <a:ea typeface="+mn-ea"/>
                <a:cs typeface="+mn-cs"/>
              </a:defRPr>
            </a:lvl2pPr>
            <a:lvl3pPr marL="401638" indent="-285750">
              <a:defRPr lang="en-US" sz="15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ill Sans"/>
                <a:ea typeface="+mn-ea"/>
                <a:cs typeface="+mn-cs"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marL="0" lv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  <a:p>
            <a:pPr marL="0" lvl="1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Second level</a:t>
            </a:r>
          </a:p>
          <a:p>
            <a:pPr marL="0" lvl="2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 dirty="0"/>
              <a:t>Third level</a:t>
            </a:r>
          </a:p>
        </p:txBody>
      </p:sp>
      <p:sp>
        <p:nvSpPr>
          <p:cNvPr id="7" name="Date Placeholder 2"/>
          <p:cNvSpPr txBox="1">
            <a:spLocks/>
          </p:cNvSpPr>
          <p:nvPr userDrawn="1"/>
        </p:nvSpPr>
        <p:spPr>
          <a:xfrm>
            <a:off x="2032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600" b="0" i="0" kern="1200">
                <a:solidFill>
                  <a:srgbClr val="FFFFFF"/>
                </a:solidFill>
                <a:latin typeface="Gill Sans MT"/>
                <a:ea typeface="+mn-ea"/>
                <a:cs typeface="Gill Sans M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349C05-927F-3348-96DF-9086CF2761D6}" type="datetime1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ill Sans MT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8/23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ill Sans MT"/>
              <a:ea typeface="+mn-ea"/>
            </a:endParaRPr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91440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b="0" i="0" kern="1200">
                <a:solidFill>
                  <a:srgbClr val="FFFFFF"/>
                </a:solidFill>
                <a:latin typeface="Gill Sans MT"/>
                <a:ea typeface="+mn-ea"/>
                <a:cs typeface="Gill Sans M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782948-4DBE-204D-AB9E-B65E067054AE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ill Sans MT"/>
                <a:ea typeface="+mn-ea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ill Sans M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976522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372779"/>
            <a:ext cx="5181600" cy="4351338"/>
          </a:xfrm>
        </p:spPr>
        <p:txBody>
          <a:bodyPr/>
          <a:lstStyle>
            <a:lvl1pPr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372779"/>
            <a:ext cx="5181600" cy="4351338"/>
          </a:xfrm>
        </p:spPr>
        <p:txBody>
          <a:bodyPr/>
          <a:lstStyle>
            <a:lvl1pPr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5733B108-F193-4ECA-91A8-60242CE8098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91542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372779"/>
            <a:ext cx="5181600" cy="4351338"/>
          </a:xfrm>
        </p:spPr>
        <p:txBody>
          <a:bodyPr/>
          <a:lstStyle>
            <a:lvl1pPr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372779"/>
            <a:ext cx="5181600" cy="4351338"/>
          </a:xfrm>
        </p:spPr>
        <p:txBody>
          <a:bodyPr/>
          <a:lstStyle>
            <a:lvl1pPr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5733B108-F193-4ECA-91A8-60242CE8098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27501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372779"/>
            <a:ext cx="5181600" cy="4351338"/>
          </a:xfrm>
        </p:spPr>
        <p:txBody>
          <a:bodyPr/>
          <a:lstStyle>
            <a:lvl1pPr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372779"/>
            <a:ext cx="5181600" cy="4351338"/>
          </a:xfrm>
        </p:spPr>
        <p:txBody>
          <a:bodyPr/>
          <a:lstStyle>
            <a:lvl1pPr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5733B108-F193-4ECA-91A8-60242CE8098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841624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531429"/>
            <a:ext cx="4114800" cy="190046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2347D-A1BD-466C-AC33-29B61A3E69A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372779"/>
            <a:ext cx="3352800" cy="4351338"/>
          </a:xfrm>
        </p:spPr>
        <p:txBody>
          <a:bodyPr/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3"/>
          </p:nvPr>
        </p:nvSpPr>
        <p:spPr>
          <a:xfrm>
            <a:off x="4419600" y="1372779"/>
            <a:ext cx="3352800" cy="4351338"/>
          </a:xfrm>
        </p:spPr>
        <p:txBody>
          <a:bodyPr/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4"/>
          </p:nvPr>
        </p:nvSpPr>
        <p:spPr>
          <a:xfrm>
            <a:off x="8001000" y="1372779"/>
            <a:ext cx="3352800" cy="4351338"/>
          </a:xfrm>
        </p:spPr>
        <p:txBody>
          <a:bodyPr/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56502337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531429"/>
            <a:ext cx="4114800" cy="190046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2347D-A1BD-466C-AC33-29B61A3E69A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372779"/>
            <a:ext cx="3352800" cy="4351338"/>
          </a:xfrm>
        </p:spPr>
        <p:txBody>
          <a:bodyPr/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3"/>
          </p:nvPr>
        </p:nvSpPr>
        <p:spPr>
          <a:xfrm>
            <a:off x="4419600" y="1372779"/>
            <a:ext cx="3352800" cy="4351338"/>
          </a:xfrm>
        </p:spPr>
        <p:txBody>
          <a:bodyPr/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4"/>
          </p:nvPr>
        </p:nvSpPr>
        <p:spPr>
          <a:xfrm>
            <a:off x="8001000" y="1372779"/>
            <a:ext cx="3352800" cy="4351338"/>
          </a:xfrm>
        </p:spPr>
        <p:txBody>
          <a:bodyPr/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6248985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857378"/>
            <a:ext cx="5157787" cy="647697"/>
          </a:xfrm>
        </p:spPr>
        <p:txBody>
          <a:bodyPr anchor="b"/>
          <a:lstStyle>
            <a:lvl1pPr marL="0" indent="0">
              <a:buNone/>
              <a:defRPr sz="1800" b="0" i="0" cap="all" baseline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95154"/>
            <a:ext cx="5157787" cy="3594509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857378"/>
            <a:ext cx="5183188" cy="647697"/>
          </a:xfrm>
        </p:spPr>
        <p:txBody>
          <a:bodyPr anchor="b"/>
          <a:lstStyle>
            <a:lvl1pPr marL="0" indent="0">
              <a:buNone/>
              <a:defRPr sz="1800" b="0" i="0" cap="all" baseline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95154"/>
            <a:ext cx="5183188" cy="3594509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5733B108-F193-4ECA-91A8-60242CE8098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663927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857378"/>
            <a:ext cx="5157787" cy="647697"/>
          </a:xfrm>
        </p:spPr>
        <p:txBody>
          <a:bodyPr anchor="b"/>
          <a:lstStyle>
            <a:lvl1pPr marL="0" indent="0">
              <a:buNone/>
              <a:defRPr sz="1800" b="0" i="0" cap="all" baseline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95154"/>
            <a:ext cx="5157787" cy="3594509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857378"/>
            <a:ext cx="5183188" cy="647697"/>
          </a:xfrm>
        </p:spPr>
        <p:txBody>
          <a:bodyPr anchor="b"/>
          <a:lstStyle>
            <a:lvl1pPr marL="0" indent="0">
              <a:buNone/>
              <a:defRPr sz="1800" b="0" i="0" cap="all" baseline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95154"/>
            <a:ext cx="5183188" cy="3594509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5733B108-F193-4ECA-91A8-60242CE8098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638380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5733B108-F193-4ECA-91A8-60242CE8098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314326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 rot="19183584">
            <a:off x="735531" y="2723952"/>
            <a:ext cx="10891788" cy="1155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0" dirty="0">
                <a:solidFill>
                  <a:schemeClr val="bg1">
                    <a:lumMod val="75000"/>
                  </a:schemeClr>
                </a:solidFill>
                <a:latin typeface="Gill Sans MT" panose="020B0502020104020203"/>
              </a:rPr>
              <a:t>DRAFT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5733B108-F193-4ECA-91A8-60242CE8098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18930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531429"/>
            <a:ext cx="4114800" cy="190046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2347D-A1BD-466C-AC33-29B61A3E69A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3413125"/>
            <a:ext cx="12192000" cy="3444875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838200" y="1407613"/>
            <a:ext cx="10515600" cy="1779724"/>
          </a:xfrm>
        </p:spPr>
        <p:txBody>
          <a:bodyPr/>
          <a:lstStyle>
            <a:lvl1pPr>
              <a:defRPr lang="en-US" sz="20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8975" indent="-285750">
              <a:buFont typeface="Arial" panose="020B0604020202020204" pitchFamily="34" charset="0"/>
              <a:buChar char="-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01638" indent="-285750">
              <a:defRPr lang="en-US" sz="15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marL="0" lv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marL="0" lvl="1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8495593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531429"/>
            <a:ext cx="4114800" cy="190046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2347D-A1BD-466C-AC33-29B61A3E69A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3413125"/>
            <a:ext cx="12192000" cy="344487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838200" y="1407613"/>
            <a:ext cx="10515600" cy="1779724"/>
          </a:xfrm>
        </p:spPr>
        <p:txBody>
          <a:bodyPr/>
          <a:lstStyle>
            <a:lvl1pPr>
              <a:defRPr lang="en-US" sz="20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8975" indent="-285750">
              <a:buFont typeface="Arial" panose="020B0604020202020204" pitchFamily="34" charset="0"/>
              <a:buChar char="-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01638" indent="-285750">
              <a:defRPr lang="en-US" sz="15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marL="0" lv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marL="0" lvl="1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893324120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4876800" cy="13678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34333"/>
            <a:ext cx="4876800" cy="4351338"/>
          </a:xfrm>
        </p:spPr>
        <p:txBody>
          <a:bodyPr/>
          <a:lstStyle>
            <a:lvl1pPr>
              <a:defRPr lang="en-US" sz="20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8975" indent="-285750">
              <a:buFont typeface="Arial" panose="020B0604020202020204" pitchFamily="34" charset="0"/>
              <a:buChar char="-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01638" indent="-285750">
              <a:defRPr lang="en-US" sz="15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marL="0" lv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marL="0" lvl="1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</p:txBody>
      </p:sp>
      <p:sp>
        <p:nvSpPr>
          <p:cNvPr id="7" name="Date Placeholder 2"/>
          <p:cNvSpPr txBox="1">
            <a:spLocks/>
          </p:cNvSpPr>
          <p:nvPr userDrawn="1"/>
        </p:nvSpPr>
        <p:spPr>
          <a:xfrm>
            <a:off x="2032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600" b="0" i="0" kern="1200">
                <a:solidFill>
                  <a:srgbClr val="FFFFFF"/>
                </a:solidFill>
                <a:latin typeface="Gill Sans MT"/>
                <a:ea typeface="+mn-ea"/>
                <a:cs typeface="Gill Sans M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349C05-927F-3348-96DF-9086CF2761D6}" type="datetime1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ill Sans MT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8/23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ill Sans MT"/>
              <a:ea typeface="+mn-ea"/>
            </a:endParaRPr>
          </a:p>
        </p:txBody>
      </p:sp>
      <p:sp>
        <p:nvSpPr>
          <p:cNvPr id="8" name="Footer Placeholder 3"/>
          <p:cNvSpPr txBox="1">
            <a:spLocks/>
          </p:cNvSpPr>
          <p:nvPr userDrawn="1"/>
        </p:nvSpPr>
        <p:spPr>
          <a:xfrm>
            <a:off x="4165600" y="6530079"/>
            <a:ext cx="3860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marL="0" algn="ctr" defTabSz="457200" rtl="0" eaLnBrk="1" latinLnBrk="0" hangingPunct="1">
              <a:defRPr sz="600" b="0" i="0" kern="1200">
                <a:solidFill>
                  <a:srgbClr val="FFFFFF"/>
                </a:solidFill>
                <a:latin typeface="Gill Sans MT"/>
                <a:ea typeface="+mn-ea"/>
                <a:cs typeface="Gill Sans M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ill Sans MT"/>
                <a:ea typeface="+mn-ea"/>
              </a:rPr>
              <a:t>FOOTER GOES HERE</a:t>
            </a:r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91440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b="0" i="0" kern="1200">
                <a:solidFill>
                  <a:srgbClr val="FFFFFF"/>
                </a:solidFill>
                <a:latin typeface="Gill Sans MT"/>
                <a:ea typeface="+mn-ea"/>
                <a:cs typeface="Gill Sans M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782948-4DBE-204D-AB9E-B65E067054AE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ill Sans MT"/>
                <a:ea typeface="+mn-ea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ill Sans MT"/>
              <a:ea typeface="+mn-ea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6072717" y="0"/>
            <a:ext cx="6119283" cy="6858000"/>
          </a:xfrm>
          <a:solidFill>
            <a:schemeClr val="bg1"/>
          </a:solidFill>
        </p:spPr>
        <p:txBody>
          <a:bodyPr>
            <a:normAutofit/>
          </a:bodyPr>
          <a:lstStyle>
            <a:lvl1pPr>
              <a:defRPr sz="1400" cap="all" baseline="0"/>
            </a:lvl1pPr>
          </a:lstStyle>
          <a:p>
            <a:r>
              <a:rPr lang="en-US" dirty="0"/>
              <a:t>Insert photo</a:t>
            </a:r>
          </a:p>
        </p:txBody>
      </p:sp>
    </p:spTree>
    <p:extLst>
      <p:ext uri="{BB962C8B-B14F-4D97-AF65-F5344CB8AC3E}">
        <p14:creationId xmlns:p14="http://schemas.microsoft.com/office/powerpoint/2010/main" val="10406203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372779"/>
            <a:ext cx="5181600" cy="4351338"/>
          </a:xfrm>
        </p:spPr>
        <p:txBody>
          <a:bodyPr/>
          <a:lstStyle>
            <a:lvl1pPr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372779"/>
            <a:ext cx="5181600" cy="4351338"/>
          </a:xfrm>
        </p:spPr>
        <p:txBody>
          <a:bodyPr/>
          <a:lstStyle>
            <a:lvl1pPr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5733B108-F193-4ECA-91A8-60242CE8098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23855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4876800" cy="13678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34333"/>
            <a:ext cx="4876800" cy="4351338"/>
          </a:xfrm>
        </p:spPr>
        <p:txBody>
          <a:bodyPr/>
          <a:lstStyle>
            <a:lvl1pPr>
              <a:defRPr lang="en-US" sz="20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8975" indent="-285750">
              <a:buFont typeface="Arial" panose="020B0604020202020204" pitchFamily="34" charset="0"/>
              <a:buChar char="-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01638" indent="-285750">
              <a:defRPr lang="en-US" sz="15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marL="0" lv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marL="0" lvl="1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</p:txBody>
      </p:sp>
      <p:sp>
        <p:nvSpPr>
          <p:cNvPr id="7" name="Date Placeholder 2"/>
          <p:cNvSpPr txBox="1">
            <a:spLocks/>
          </p:cNvSpPr>
          <p:nvPr userDrawn="1"/>
        </p:nvSpPr>
        <p:spPr>
          <a:xfrm>
            <a:off x="2032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600" b="0" i="0" kern="1200">
                <a:solidFill>
                  <a:srgbClr val="FFFFFF"/>
                </a:solidFill>
                <a:latin typeface="Gill Sans MT"/>
                <a:ea typeface="+mn-ea"/>
                <a:cs typeface="Gill Sans M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349C05-927F-3348-96DF-9086CF2761D6}" type="datetime1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ill Sans MT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8/23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ill Sans MT"/>
              <a:ea typeface="+mn-ea"/>
            </a:endParaRPr>
          </a:p>
        </p:txBody>
      </p:sp>
      <p:sp>
        <p:nvSpPr>
          <p:cNvPr id="8" name="Footer Placeholder 3"/>
          <p:cNvSpPr txBox="1">
            <a:spLocks/>
          </p:cNvSpPr>
          <p:nvPr userDrawn="1"/>
        </p:nvSpPr>
        <p:spPr>
          <a:xfrm>
            <a:off x="4165600" y="6530079"/>
            <a:ext cx="3860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marL="0" algn="ctr" defTabSz="457200" rtl="0" eaLnBrk="1" latinLnBrk="0" hangingPunct="1">
              <a:defRPr sz="600" b="0" i="0" kern="1200">
                <a:solidFill>
                  <a:srgbClr val="FFFFFF"/>
                </a:solidFill>
                <a:latin typeface="Gill Sans MT"/>
                <a:ea typeface="+mn-ea"/>
                <a:cs typeface="Gill Sans M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ill Sans MT"/>
                <a:ea typeface="+mn-ea"/>
              </a:rPr>
              <a:t>FOOTER GOES HERE</a:t>
            </a:r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91440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b="0" i="0" kern="1200">
                <a:solidFill>
                  <a:srgbClr val="FFFFFF"/>
                </a:solidFill>
                <a:latin typeface="Gill Sans MT"/>
                <a:ea typeface="+mn-ea"/>
                <a:cs typeface="Gill Sans M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782948-4DBE-204D-AB9E-B65E067054AE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ill Sans MT"/>
                <a:ea typeface="+mn-ea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ill Sans MT"/>
              <a:ea typeface="+mn-ea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6084359" y="0"/>
            <a:ext cx="6119283" cy="6858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400" cap="all" baseline="0"/>
            </a:lvl1pPr>
          </a:lstStyle>
          <a:p>
            <a:r>
              <a:rPr lang="en-US" dirty="0"/>
              <a:t>Insert photo</a:t>
            </a:r>
          </a:p>
        </p:txBody>
      </p:sp>
    </p:spTree>
    <p:extLst>
      <p:ext uri="{BB962C8B-B14F-4D97-AF65-F5344CB8AC3E}">
        <p14:creationId xmlns:p14="http://schemas.microsoft.com/office/powerpoint/2010/main" val="190545188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97469" y="365126"/>
            <a:ext cx="4876800" cy="13678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97469" y="1834333"/>
            <a:ext cx="4876800" cy="4351338"/>
          </a:xfrm>
        </p:spPr>
        <p:txBody>
          <a:bodyPr/>
          <a:lstStyle>
            <a:lvl1pPr>
              <a:defRPr lang="en-US" sz="20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8975" indent="-285750">
              <a:buFont typeface="Arial" panose="020B0604020202020204" pitchFamily="34" charset="0"/>
              <a:buChar char="-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01638" indent="-285750">
              <a:defRPr lang="en-US" sz="15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marL="0" lv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marL="0" lvl="1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</p:txBody>
      </p:sp>
      <p:sp>
        <p:nvSpPr>
          <p:cNvPr id="7" name="Date Placeholder 2"/>
          <p:cNvSpPr txBox="1">
            <a:spLocks/>
          </p:cNvSpPr>
          <p:nvPr userDrawn="1"/>
        </p:nvSpPr>
        <p:spPr>
          <a:xfrm>
            <a:off x="2032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600" b="0" i="0" kern="1200">
                <a:solidFill>
                  <a:srgbClr val="FFFFFF"/>
                </a:solidFill>
                <a:latin typeface="Gill Sans MT"/>
                <a:ea typeface="+mn-ea"/>
                <a:cs typeface="Gill Sans M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349C05-927F-3348-96DF-9086CF2761D6}" type="datetime1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ill Sans MT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8/23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ill Sans MT"/>
              <a:ea typeface="+mn-ea"/>
            </a:endParaRPr>
          </a:p>
        </p:txBody>
      </p:sp>
      <p:sp>
        <p:nvSpPr>
          <p:cNvPr id="8" name="Footer Placeholder 3"/>
          <p:cNvSpPr txBox="1">
            <a:spLocks/>
          </p:cNvSpPr>
          <p:nvPr userDrawn="1"/>
        </p:nvSpPr>
        <p:spPr>
          <a:xfrm>
            <a:off x="4165600" y="6530079"/>
            <a:ext cx="3860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marL="0" algn="ctr" defTabSz="457200" rtl="0" eaLnBrk="1" latinLnBrk="0" hangingPunct="1">
              <a:defRPr sz="600" b="0" i="0" kern="1200">
                <a:solidFill>
                  <a:srgbClr val="FFFFFF"/>
                </a:solidFill>
                <a:latin typeface="Gill Sans MT"/>
                <a:ea typeface="+mn-ea"/>
                <a:cs typeface="Gill Sans M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ill Sans MT"/>
                <a:ea typeface="+mn-ea"/>
              </a:rPr>
              <a:t>FOOTER GOES HERE</a:t>
            </a:r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91440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b="0" i="0" kern="1200">
                <a:solidFill>
                  <a:srgbClr val="FFFFFF"/>
                </a:solidFill>
                <a:latin typeface="Gill Sans MT"/>
                <a:ea typeface="+mn-ea"/>
                <a:cs typeface="Gill Sans M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782948-4DBE-204D-AB9E-B65E067054AE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ill Sans MT"/>
                <a:ea typeface="+mn-ea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ill Sans MT"/>
              <a:ea typeface="+mn-ea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119283" cy="6858000"/>
          </a:xfrm>
          <a:solidFill>
            <a:schemeClr val="bg1"/>
          </a:solidFill>
        </p:spPr>
        <p:txBody>
          <a:bodyPr>
            <a:normAutofit/>
          </a:bodyPr>
          <a:lstStyle>
            <a:lvl1pPr>
              <a:defRPr sz="1400" cap="all" baseline="0"/>
            </a:lvl1pPr>
          </a:lstStyle>
          <a:p>
            <a:r>
              <a:rPr lang="en-US" dirty="0"/>
              <a:t>Insert photo</a:t>
            </a:r>
          </a:p>
        </p:txBody>
      </p:sp>
    </p:spTree>
    <p:extLst>
      <p:ext uri="{BB962C8B-B14F-4D97-AF65-F5344CB8AC3E}">
        <p14:creationId xmlns:p14="http://schemas.microsoft.com/office/powerpoint/2010/main" val="20160193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97469" y="365126"/>
            <a:ext cx="4876800" cy="13678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97469" y="1834333"/>
            <a:ext cx="4876800" cy="4351338"/>
          </a:xfrm>
        </p:spPr>
        <p:txBody>
          <a:bodyPr/>
          <a:lstStyle>
            <a:lvl1pPr>
              <a:defRPr lang="en-US" sz="20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8975" indent="-285750">
              <a:buFont typeface="Arial" panose="020B0604020202020204" pitchFamily="34" charset="0"/>
              <a:buChar char="-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01638" indent="-285750">
              <a:defRPr lang="en-US" sz="15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marL="0" lv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marL="0" lvl="1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</p:txBody>
      </p:sp>
      <p:sp>
        <p:nvSpPr>
          <p:cNvPr id="7" name="Date Placeholder 2"/>
          <p:cNvSpPr txBox="1">
            <a:spLocks/>
          </p:cNvSpPr>
          <p:nvPr userDrawn="1"/>
        </p:nvSpPr>
        <p:spPr>
          <a:xfrm>
            <a:off x="2032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600" b="0" i="0" kern="1200">
                <a:solidFill>
                  <a:srgbClr val="FFFFFF"/>
                </a:solidFill>
                <a:latin typeface="Gill Sans MT"/>
                <a:ea typeface="+mn-ea"/>
                <a:cs typeface="Gill Sans M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349C05-927F-3348-96DF-9086CF2761D6}" type="datetime1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ill Sans MT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8/23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ill Sans MT"/>
              <a:ea typeface="+mn-ea"/>
            </a:endParaRPr>
          </a:p>
        </p:txBody>
      </p:sp>
      <p:sp>
        <p:nvSpPr>
          <p:cNvPr id="8" name="Footer Placeholder 3"/>
          <p:cNvSpPr txBox="1">
            <a:spLocks/>
          </p:cNvSpPr>
          <p:nvPr userDrawn="1"/>
        </p:nvSpPr>
        <p:spPr>
          <a:xfrm>
            <a:off x="4165600" y="6530079"/>
            <a:ext cx="3860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marL="0" algn="ctr" defTabSz="457200" rtl="0" eaLnBrk="1" latinLnBrk="0" hangingPunct="1">
              <a:defRPr sz="600" b="0" i="0" kern="1200">
                <a:solidFill>
                  <a:srgbClr val="FFFFFF"/>
                </a:solidFill>
                <a:latin typeface="Gill Sans MT"/>
                <a:ea typeface="+mn-ea"/>
                <a:cs typeface="Gill Sans M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ill Sans MT"/>
                <a:ea typeface="+mn-ea"/>
              </a:rPr>
              <a:t>FOOTER GOES HERE</a:t>
            </a:r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91440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b="0" i="0" kern="1200">
                <a:solidFill>
                  <a:srgbClr val="FFFFFF"/>
                </a:solidFill>
                <a:latin typeface="Gill Sans MT"/>
                <a:ea typeface="+mn-ea"/>
                <a:cs typeface="Gill Sans M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782948-4DBE-204D-AB9E-B65E067054AE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ill Sans MT"/>
                <a:ea typeface="+mn-ea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ill Sans MT"/>
              <a:ea typeface="+mn-ea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119283" cy="6858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400" cap="all" baseline="0"/>
            </a:lvl1pPr>
          </a:lstStyle>
          <a:p>
            <a:r>
              <a:rPr lang="en-US" dirty="0"/>
              <a:t>Insert photo</a:t>
            </a:r>
          </a:p>
        </p:txBody>
      </p:sp>
    </p:spTree>
    <p:extLst>
      <p:ext uri="{BB962C8B-B14F-4D97-AF65-F5344CB8AC3E}">
        <p14:creationId xmlns:p14="http://schemas.microsoft.com/office/powerpoint/2010/main" val="386061425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_4-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7680" y="1180511"/>
            <a:ext cx="11216640" cy="399052"/>
          </a:xfrm>
        </p:spPr>
        <p:txBody>
          <a:bodyPr>
            <a:noAutofit/>
          </a:bodyPr>
          <a:lstStyle>
            <a:lvl1pPr marL="0" indent="0">
              <a:buNone/>
              <a:defRPr sz="2000" b="0" cap="all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87680" y="295683"/>
            <a:ext cx="11216640" cy="72131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6"/>
          </p:nvPr>
        </p:nvSpPr>
        <p:spPr>
          <a:xfrm>
            <a:off x="486464" y="1703388"/>
            <a:ext cx="5486400" cy="2286000"/>
          </a:xfrm>
          <a:solidFill>
            <a:schemeClr val="bg1"/>
          </a:solidFill>
          <a:ln>
            <a:solidFill>
              <a:schemeClr val="accent3"/>
            </a:solidFill>
          </a:ln>
        </p:spPr>
        <p:txBody>
          <a:bodyPr lIns="91440" tIns="91440" rIns="91440" bIns="9144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quarter" idx="17"/>
          </p:nvPr>
        </p:nvSpPr>
        <p:spPr>
          <a:xfrm>
            <a:off x="6218288" y="1703388"/>
            <a:ext cx="5486400" cy="2286000"/>
          </a:xfrm>
          <a:solidFill>
            <a:schemeClr val="bg1"/>
          </a:solidFill>
          <a:ln>
            <a:solidFill>
              <a:schemeClr val="accent3"/>
            </a:solidFill>
          </a:ln>
        </p:spPr>
        <p:txBody>
          <a:bodyPr lIns="91440" tIns="91440" rIns="91440" bIns="9144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486464" y="4113213"/>
            <a:ext cx="5486400" cy="2286000"/>
          </a:xfrm>
          <a:solidFill>
            <a:schemeClr val="bg1"/>
          </a:solidFill>
          <a:ln>
            <a:solidFill>
              <a:schemeClr val="accent3"/>
            </a:solidFill>
          </a:ln>
        </p:spPr>
        <p:txBody>
          <a:bodyPr lIns="91440" tIns="91440" rIns="91440" bIns="9144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6218288" y="4113213"/>
            <a:ext cx="5486400" cy="2286000"/>
          </a:xfrm>
          <a:solidFill>
            <a:schemeClr val="bg1"/>
          </a:solidFill>
          <a:ln>
            <a:solidFill>
              <a:schemeClr val="accent3"/>
            </a:solidFill>
          </a:ln>
        </p:spPr>
        <p:txBody>
          <a:bodyPr lIns="91440" tIns="91440" rIns="91440" bIns="9144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9632275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531429"/>
            <a:ext cx="4114800" cy="190046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2347D-A1BD-466C-AC33-29B61A3E69A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372779"/>
            <a:ext cx="3352800" cy="4351338"/>
          </a:xfrm>
        </p:spPr>
        <p:txBody>
          <a:bodyPr/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3"/>
          </p:nvPr>
        </p:nvSpPr>
        <p:spPr>
          <a:xfrm>
            <a:off x="4419600" y="1372779"/>
            <a:ext cx="3352800" cy="4351338"/>
          </a:xfrm>
        </p:spPr>
        <p:txBody>
          <a:bodyPr/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4"/>
          </p:nvPr>
        </p:nvSpPr>
        <p:spPr>
          <a:xfrm>
            <a:off x="8001000" y="1372779"/>
            <a:ext cx="3352800" cy="4351338"/>
          </a:xfrm>
        </p:spPr>
        <p:txBody>
          <a:bodyPr/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15830744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531429"/>
            <a:ext cx="4114800" cy="190046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2347D-A1BD-466C-AC33-29B61A3E69A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372779"/>
            <a:ext cx="3352800" cy="4351338"/>
          </a:xfrm>
        </p:spPr>
        <p:txBody>
          <a:bodyPr/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3"/>
          </p:nvPr>
        </p:nvSpPr>
        <p:spPr>
          <a:xfrm>
            <a:off x="4419600" y="1372779"/>
            <a:ext cx="3352800" cy="4351338"/>
          </a:xfrm>
        </p:spPr>
        <p:txBody>
          <a:bodyPr/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4"/>
          </p:nvPr>
        </p:nvSpPr>
        <p:spPr>
          <a:xfrm>
            <a:off x="8001000" y="1372779"/>
            <a:ext cx="3352800" cy="4351338"/>
          </a:xfrm>
        </p:spPr>
        <p:txBody>
          <a:bodyPr/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84869324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857378"/>
            <a:ext cx="5157787" cy="647697"/>
          </a:xfrm>
        </p:spPr>
        <p:txBody>
          <a:bodyPr anchor="b"/>
          <a:lstStyle>
            <a:lvl1pPr marL="0" indent="0">
              <a:buNone/>
              <a:defRPr sz="1800" b="0" i="0" cap="all" baseline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95154"/>
            <a:ext cx="5157787" cy="3594509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857378"/>
            <a:ext cx="5183188" cy="647697"/>
          </a:xfrm>
        </p:spPr>
        <p:txBody>
          <a:bodyPr anchor="b"/>
          <a:lstStyle>
            <a:lvl1pPr marL="0" indent="0">
              <a:buNone/>
              <a:defRPr sz="1800" b="0" i="0" cap="all" baseline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95154"/>
            <a:ext cx="5183188" cy="3594509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5733B108-F193-4ECA-91A8-60242CE8098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88533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857378"/>
            <a:ext cx="5157787" cy="647697"/>
          </a:xfrm>
        </p:spPr>
        <p:txBody>
          <a:bodyPr anchor="b"/>
          <a:lstStyle>
            <a:lvl1pPr marL="0" indent="0">
              <a:buNone/>
              <a:defRPr sz="1800" b="0" i="0" cap="all" baseline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95154"/>
            <a:ext cx="5157787" cy="3594509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857378"/>
            <a:ext cx="5183188" cy="647697"/>
          </a:xfrm>
        </p:spPr>
        <p:txBody>
          <a:bodyPr anchor="b"/>
          <a:lstStyle>
            <a:lvl1pPr marL="0" indent="0">
              <a:buNone/>
              <a:defRPr sz="1800" b="0" i="0" cap="all" baseline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95154"/>
            <a:ext cx="5183188" cy="3594509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5733B108-F193-4ECA-91A8-60242CE8098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20800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5733B108-F193-4ECA-91A8-60242CE8098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0164993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 rot="19183584">
            <a:off x="735531" y="2723952"/>
            <a:ext cx="10891788" cy="1155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0" dirty="0">
                <a:solidFill>
                  <a:schemeClr val="bg1">
                    <a:lumMod val="75000"/>
                  </a:schemeClr>
                </a:solidFill>
                <a:latin typeface="Gill Sans MT" panose="020B0502020104020203"/>
              </a:rPr>
              <a:t>DRAFT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5733B108-F193-4ECA-91A8-60242CE8098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044626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836657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07613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2"/>
          </p:nvPr>
        </p:nvSpPr>
        <p:spPr>
          <a:xfrm>
            <a:off x="838200" y="6531429"/>
            <a:ext cx="2743200" cy="1900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4"/>
          </p:nvPr>
        </p:nvSpPr>
        <p:spPr>
          <a:xfrm>
            <a:off x="8610600" y="6531429"/>
            <a:ext cx="2743200" cy="1900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Company Name, CONFIDENTIAL, </a:t>
            </a:r>
            <a:fld id="{6652347D-A1BD-466C-AC33-29B61A3E69A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7413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04" r:id="rId2"/>
    <p:sldLayoutId id="2147483720" r:id="rId3"/>
    <p:sldLayoutId id="2147483714" r:id="rId4"/>
    <p:sldLayoutId id="2147483718" r:id="rId5"/>
    <p:sldLayoutId id="2147483705" r:id="rId6"/>
    <p:sldLayoutId id="2147483719" r:id="rId7"/>
    <p:sldLayoutId id="2147483706" r:id="rId8"/>
    <p:sldLayoutId id="2147483707" r:id="rId9"/>
    <p:sldLayoutId id="2147483715" r:id="rId10"/>
    <p:sldLayoutId id="2147483721" r:id="rId11"/>
    <p:sldLayoutId id="2147483716" r:id="rId12"/>
    <p:sldLayoutId id="2147483722" r:id="rId13"/>
    <p:sldLayoutId id="2147483717" r:id="rId14"/>
    <p:sldLayoutId id="2147483723" r:id="rId15"/>
    <p:sldLayoutId id="2147483699" r:id="rId16"/>
    <p:sldLayoutId id="2147483749" r:id="rId17"/>
  </p:sldLayoutIdLst>
  <p:transition>
    <p:fade/>
  </p:transition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cap="all" baseline="0">
          <a:solidFill>
            <a:schemeClr val="accent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287338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574675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-"/>
        <a:defRPr sz="15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AEA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836657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07613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2"/>
          </p:nvPr>
        </p:nvSpPr>
        <p:spPr>
          <a:xfrm>
            <a:off x="838200" y="6531429"/>
            <a:ext cx="2743200" cy="1900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4"/>
          </p:nvPr>
        </p:nvSpPr>
        <p:spPr>
          <a:xfrm>
            <a:off x="8610600" y="6531429"/>
            <a:ext cx="2743200" cy="1900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Company Name, CONFIDENTIAL, </a:t>
            </a:r>
            <a:fld id="{6652347D-A1BD-466C-AC33-29B61A3E69A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33443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44" r:id="rId12"/>
    <p:sldLayoutId id="2147483745" r:id="rId13"/>
    <p:sldLayoutId id="2147483746" r:id="rId14"/>
    <p:sldLayoutId id="2147483747" r:id="rId15"/>
    <p:sldLayoutId id="2147483748" r:id="rId16"/>
  </p:sldLayoutIdLst>
  <p:transition>
    <p:fade/>
  </p:transition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cap="all" baseline="0">
          <a:solidFill>
            <a:schemeClr val="accent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287338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574675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-"/>
        <a:defRPr sz="15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4.xml"/><Relationship Id="rId7" Type="http://schemas.openxmlformats.org/officeDocument/2006/relationships/slideLayout" Target="../slideLayouts/slideLayout17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AF00286-63CF-4FE9-B404-677BF00760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642" y="5388507"/>
            <a:ext cx="10808712" cy="1332969"/>
          </a:xfrm>
        </p:spPr>
        <p:txBody>
          <a:bodyPr anchor="t"/>
          <a:lstStyle/>
          <a:p>
            <a:r>
              <a:rPr lang="en-US" sz="2400" b="1" dirty="0">
                <a:solidFill>
                  <a:schemeClr val="accent2"/>
                </a:solidFill>
                <a:latin typeface="Gill Sans"/>
              </a:rPr>
              <a:t>[Insert Company Name: </a:t>
            </a:r>
            <a:r>
              <a:rPr lang="en-US" sz="2400" dirty="0">
                <a:solidFill>
                  <a:schemeClr val="accent2"/>
                </a:solidFill>
                <a:latin typeface="Gill Sans"/>
              </a:rPr>
              <a:t>Project/Pitch TitlE</a:t>
            </a:r>
            <a:r>
              <a:rPr lang="en-US" sz="2400" b="1" dirty="0">
                <a:solidFill>
                  <a:schemeClr val="accent2"/>
                </a:solidFill>
                <a:latin typeface="Gill Sans"/>
              </a:rPr>
              <a:t>]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67C3013-6CC0-4891-8485-D97C5B88C7DD}"/>
              </a:ext>
            </a:extLst>
          </p:cNvPr>
          <p:cNvSpPr/>
          <p:nvPr/>
        </p:nvSpPr>
        <p:spPr>
          <a:xfrm>
            <a:off x="625642" y="6163180"/>
            <a:ext cx="9324868" cy="34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700"/>
              </a:spcAft>
              <a:defRPr/>
            </a:pPr>
            <a:r>
              <a:rPr lang="en-US" sz="1600" b="1" i="1" dirty="0">
                <a:solidFill>
                  <a:prstClr val="black"/>
                </a:solidFill>
                <a:latin typeface="Gill Sans MT" panose="020B0502020104020203" pitchFamily="34" charset="0"/>
              </a:rPr>
              <a:t>[Insert Month and Year]</a:t>
            </a:r>
            <a:endParaRPr lang="en-US" sz="1100" i="1" dirty="0">
              <a:latin typeface="Gill Sans MT" panose="020B0502020104020203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1EA6587-80C1-4A5E-8088-7E76D58D9F74}"/>
              </a:ext>
            </a:extLst>
          </p:cNvPr>
          <p:cNvSpPr/>
          <p:nvPr/>
        </p:nvSpPr>
        <p:spPr>
          <a:xfrm>
            <a:off x="487017" y="318052"/>
            <a:ext cx="2226366" cy="727505"/>
          </a:xfrm>
          <a:prstGeom prst="rect">
            <a:avLst/>
          </a:prstGeom>
          <a:solidFill>
            <a:srgbClr val="FF00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mpany X’s Logo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1653728-6309-4106-BC42-75C287B97E3E}"/>
              </a:ext>
            </a:extLst>
          </p:cNvPr>
          <p:cNvSpPr/>
          <p:nvPr/>
        </p:nvSpPr>
        <p:spPr>
          <a:xfrm>
            <a:off x="5121965" y="2853279"/>
            <a:ext cx="2226366" cy="727505"/>
          </a:xfrm>
          <a:prstGeom prst="rect">
            <a:avLst/>
          </a:prstGeom>
          <a:solidFill>
            <a:srgbClr val="FF00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ample Photo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983DEEA-CEA6-4FF1-AF6C-ABFB18C4111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918252"/>
            <a:ext cx="12192000" cy="2395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9804692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18F9A3-CE53-4657-8FE9-CECF110B58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ny X’s Financ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956D37-8369-4FA7-8517-2F4FC247574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[Insert tagline as necessary]</a:t>
            </a: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C639B2-D412-456E-AC9B-C3765EF51C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Existing Funding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A300752-1347-48C4-9742-221573842AE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/>
              <a:t>Company Name, CONFIDENTIAL, </a:t>
            </a:r>
            <a:fld id="{6652347D-A1BD-466C-AC33-29B61A3E69AB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6EDC2FB-263A-4381-9943-87AB10A69223}"/>
              </a:ext>
            </a:extLst>
          </p:cNvPr>
          <p:cNvSpPr/>
          <p:nvPr/>
        </p:nvSpPr>
        <p:spPr>
          <a:xfrm>
            <a:off x="1912890" y="4356707"/>
            <a:ext cx="268984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>
                <a:solidFill>
                  <a:prstClr val="black"/>
                </a:solidFill>
                <a:latin typeface="Gill Sans MT" panose="020B0502020104020203" pitchFamily="34" charset="0"/>
                <a:cs typeface="Century Gothic"/>
              </a:rPr>
              <a:t>[Insert Amount]</a:t>
            </a:r>
            <a:endParaRPr lang="en-US" sz="2800" dirty="0">
              <a:latin typeface="Gill Sans MT" panose="020B050202010402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9772205-E134-4577-B92C-545274036960}"/>
              </a:ext>
            </a:extLst>
          </p:cNvPr>
          <p:cNvSpPr/>
          <p:nvPr/>
        </p:nvSpPr>
        <p:spPr>
          <a:xfrm>
            <a:off x="1912890" y="5868436"/>
            <a:ext cx="268984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>
                <a:solidFill>
                  <a:prstClr val="black"/>
                </a:solidFill>
                <a:latin typeface="Gill Sans MT" panose="020B0502020104020203" pitchFamily="34" charset="0"/>
                <a:cs typeface="Century Gothic"/>
              </a:rPr>
              <a:t>[Insert Amount]</a:t>
            </a:r>
            <a:endParaRPr lang="en-US" sz="2800" dirty="0">
              <a:latin typeface="Gill Sans MT" panose="020B050202010402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4C392E9-AEF6-40EB-8D89-4D2EEF69BD57}"/>
              </a:ext>
            </a:extLst>
          </p:cNvPr>
          <p:cNvSpPr/>
          <p:nvPr/>
        </p:nvSpPr>
        <p:spPr>
          <a:xfrm>
            <a:off x="1975215" y="2806535"/>
            <a:ext cx="231185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1003841">
              <a:defRPr/>
            </a:pPr>
            <a:r>
              <a:rPr lang="en-US" sz="2800" dirty="0">
                <a:latin typeface="Gill Sans MT" panose="020B0502020104020203" pitchFamily="34" charset="0"/>
              </a:rPr>
              <a:t>US$ 5,000,000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8CEDA3E-3156-4C2F-ABF3-044475E0B556}"/>
              </a:ext>
            </a:extLst>
          </p:cNvPr>
          <p:cNvSpPr txBox="1"/>
          <p:nvPr/>
        </p:nvSpPr>
        <p:spPr>
          <a:xfrm>
            <a:off x="2209813" y="2487411"/>
            <a:ext cx="1842655" cy="30777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latin typeface="Gill Sans MT" panose="020B0502020104020203" pitchFamily="34" charset="0"/>
              </a:rPr>
              <a:t>Insert Funder Logo</a:t>
            </a:r>
            <a:endParaRPr lang="en-NG" sz="1400" dirty="0">
              <a:latin typeface="Gill Sans MT" panose="020B05020201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E01094F-41EC-420B-8F06-10003E465C9F}"/>
              </a:ext>
            </a:extLst>
          </p:cNvPr>
          <p:cNvSpPr txBox="1"/>
          <p:nvPr/>
        </p:nvSpPr>
        <p:spPr>
          <a:xfrm>
            <a:off x="2209813" y="3997562"/>
            <a:ext cx="1842655" cy="30777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latin typeface="Gill Sans MT" panose="020B0502020104020203" pitchFamily="34" charset="0"/>
              </a:rPr>
              <a:t>Insert Funder Logo</a:t>
            </a:r>
            <a:endParaRPr lang="en-NG" sz="1400" dirty="0">
              <a:latin typeface="Gill Sans MT" panose="020B05020201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3B842A4-EC43-4622-BCDD-591A694587B7}"/>
              </a:ext>
            </a:extLst>
          </p:cNvPr>
          <p:cNvSpPr txBox="1"/>
          <p:nvPr/>
        </p:nvSpPr>
        <p:spPr>
          <a:xfrm>
            <a:off x="2209813" y="5535414"/>
            <a:ext cx="1842655" cy="30777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latin typeface="Gill Sans MT" panose="020B0502020104020203" pitchFamily="34" charset="0"/>
              </a:rPr>
              <a:t>Insert Funder Logo</a:t>
            </a:r>
            <a:endParaRPr lang="en-NG" sz="1400" dirty="0">
              <a:latin typeface="Gill Sans MT" panose="020B05020201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7FC3779-E880-47C3-9998-7B467A385FF2}"/>
              </a:ext>
            </a:extLst>
          </p:cNvPr>
          <p:cNvSpPr txBox="1"/>
          <p:nvPr/>
        </p:nvSpPr>
        <p:spPr>
          <a:xfrm>
            <a:off x="7589266" y="2728710"/>
            <a:ext cx="1842655" cy="30777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1400" dirty="0">
                <a:latin typeface="Gill Sans MT" panose="020B0502020104020203" pitchFamily="34" charset="0"/>
              </a:rPr>
              <a:t>Insert Partner Logo</a:t>
            </a:r>
            <a:endParaRPr lang="en-NG" sz="1400" dirty="0">
              <a:latin typeface="Gill Sans MT" panose="020B05020201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201BC99-241D-40E7-BF3B-F6E7B22B6F09}"/>
              </a:ext>
            </a:extLst>
          </p:cNvPr>
          <p:cNvSpPr txBox="1"/>
          <p:nvPr/>
        </p:nvSpPr>
        <p:spPr>
          <a:xfrm>
            <a:off x="7589266" y="3765155"/>
            <a:ext cx="1842655" cy="30777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1400" dirty="0">
                <a:latin typeface="Gill Sans MT" panose="020B0502020104020203" pitchFamily="34" charset="0"/>
              </a:rPr>
              <a:t>Insert Partner Logo</a:t>
            </a:r>
            <a:endParaRPr lang="en-NG" sz="1400" dirty="0">
              <a:latin typeface="Gill Sans MT" panose="020B05020201040202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FCB9712-8316-4FE2-8DE6-7B8F6D5E19F8}"/>
              </a:ext>
            </a:extLst>
          </p:cNvPr>
          <p:cNvSpPr txBox="1"/>
          <p:nvPr/>
        </p:nvSpPr>
        <p:spPr>
          <a:xfrm>
            <a:off x="7589266" y="4801600"/>
            <a:ext cx="1842655" cy="30777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1400" dirty="0">
                <a:latin typeface="Gill Sans MT" panose="020B0502020104020203" pitchFamily="34" charset="0"/>
              </a:rPr>
              <a:t>Insert Partner Logo</a:t>
            </a:r>
            <a:endParaRPr lang="en-NG" sz="1400" dirty="0">
              <a:latin typeface="Gill Sans MT" panose="020B05020201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74D906C-2DDE-424D-BDA5-D5C1D0D60818}"/>
              </a:ext>
            </a:extLst>
          </p:cNvPr>
          <p:cNvSpPr txBox="1"/>
          <p:nvPr/>
        </p:nvSpPr>
        <p:spPr>
          <a:xfrm>
            <a:off x="7589266" y="5838044"/>
            <a:ext cx="1842655" cy="30777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1400" dirty="0">
                <a:latin typeface="Gill Sans MT" panose="020B0502020104020203" pitchFamily="34" charset="0"/>
              </a:rPr>
              <a:t>Insert Partner Logo</a:t>
            </a:r>
            <a:endParaRPr lang="en-NG" sz="1400" dirty="0">
              <a:latin typeface="Gill Sans MT" panose="020B0502020104020203" pitchFamily="34" charset="0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D2DCEED-C684-4D58-8C30-EC57AFAEB7BD}"/>
              </a:ext>
            </a:extLst>
          </p:cNvPr>
          <p:cNvCxnSpPr/>
          <p:nvPr/>
        </p:nvCxnSpPr>
        <p:spPr>
          <a:xfrm>
            <a:off x="1068619" y="2083145"/>
            <a:ext cx="43283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867052CD-F9D9-4D42-8D50-89B49AB631F3}"/>
              </a:ext>
            </a:extLst>
          </p:cNvPr>
          <p:cNvSpPr txBox="1"/>
          <p:nvPr/>
        </p:nvSpPr>
        <p:spPr>
          <a:xfrm>
            <a:off x="1898079" y="1898479"/>
            <a:ext cx="2451312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b="1" dirty="0">
                <a:latin typeface="Gill Sans MT" panose="020B0502020104020203" pitchFamily="34" charset="0"/>
              </a:rPr>
              <a:t>Funding to date</a:t>
            </a:r>
            <a:endParaRPr lang="en-NG" b="1" dirty="0">
              <a:latin typeface="Gill Sans MT" panose="020B0502020104020203" pitchFamily="34" charset="0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703FED8-0308-4057-9FA2-AF837946154A}"/>
              </a:ext>
            </a:extLst>
          </p:cNvPr>
          <p:cNvCxnSpPr/>
          <p:nvPr/>
        </p:nvCxnSpPr>
        <p:spPr>
          <a:xfrm>
            <a:off x="6446435" y="2083145"/>
            <a:ext cx="43283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02B35EC0-CD58-4A4D-919D-6E8841FC8869}"/>
              </a:ext>
            </a:extLst>
          </p:cNvPr>
          <p:cNvSpPr txBox="1"/>
          <p:nvPr/>
        </p:nvSpPr>
        <p:spPr>
          <a:xfrm>
            <a:off x="7571961" y="1898479"/>
            <a:ext cx="2077278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b="1" dirty="0">
                <a:latin typeface="Gill Sans MT" panose="020B0502020104020203" pitchFamily="34" charset="0"/>
              </a:rPr>
              <a:t>Key Partnerships</a:t>
            </a:r>
            <a:endParaRPr lang="en-NG" b="1" dirty="0">
              <a:latin typeface="Gill Sans MT" panose="020B05020201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08989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06A027-EAA7-4C11-A67B-C7C2553001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vestment Offer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80BC36-AC9C-4385-9E2F-2E3391C51B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[Insert tagline as necessary]</a:t>
            </a: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BFBB5B-536C-4AD8-948A-1E9140D916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Defining the NE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C2E734E-90C7-46ED-B088-D7BCA641BE6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/>
              <a:t>Company Name, CONFIDENTIAL, </a:t>
            </a:r>
            <a:fld id="{6652347D-A1BD-466C-AC33-29B61A3E69AB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34CCB97-D667-4245-A595-CB9044D5B1EA}"/>
              </a:ext>
            </a:extLst>
          </p:cNvPr>
          <p:cNvSpPr txBox="1"/>
          <p:nvPr/>
        </p:nvSpPr>
        <p:spPr>
          <a:xfrm>
            <a:off x="5825831" y="1925778"/>
            <a:ext cx="5077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latin typeface="Gill Sans MT" panose="020B0502020104020203" pitchFamily="34" charset="0"/>
              </a:rPr>
              <a:t>Use of Funds</a:t>
            </a:r>
            <a:endParaRPr lang="en-NG" b="1" dirty="0">
              <a:latin typeface="Gill Sans MT" panose="020B0502020104020203" pitchFamily="34" charset="0"/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2F40F138-0D97-46A2-BAF3-E6B7E63E78F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88225"/>
              </p:ext>
            </p:extLst>
          </p:nvPr>
        </p:nvGraphicFramePr>
        <p:xfrm>
          <a:off x="5834063" y="2212975"/>
          <a:ext cx="5208587" cy="4067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265EC485-4825-4FCC-851A-B24EC8CA3B90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6194425" y="6256338"/>
            <a:ext cx="4524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F3D1EFA-25EC-46EB-B797-766140F4C492}" type="datetime'''C''''''''''''''a''''pE''''''''''''''''''''''''''''x'''''''">
              <a:rPr lang="en-GB" altLang="en-US" sz="1400" smtClean="0">
                <a:latin typeface="Gill Sans MT" panose="020B0502020104020203" pitchFamily="34" charset="0"/>
              </a:rPr>
              <a:pPr/>
              <a:t>CapEx</a:t>
            </a:fld>
            <a:endParaRPr lang="en-GB" sz="1400" dirty="0">
              <a:latin typeface="Gill Sans MT" panose="020B0502020104020203" pitchFamily="34" charset="0"/>
              <a:sym typeface="+mn-lt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ECFE6A6-9D74-4EB0-A814-EFA9A4B9A821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172324" y="6256338"/>
            <a:ext cx="5159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D8D79FD-B407-4AB5-AACE-903F95F0E8D4}" type="datetime'''L''''''''''''''''''''''''''a''b''our'">
              <a:rPr lang="en-GB" altLang="en-US" sz="1400" smtClean="0">
                <a:latin typeface="Gill Sans MT" panose="020B0502020104020203" pitchFamily="34" charset="0"/>
              </a:rPr>
              <a:pPr/>
              <a:t>Labour</a:t>
            </a:fld>
            <a:endParaRPr lang="en-GB" sz="1400" dirty="0">
              <a:latin typeface="Gill Sans MT" panose="020B0502020104020203" pitchFamily="34" charset="0"/>
              <a:sym typeface="+mn-lt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1D0B6C2-4ED7-461B-BACD-537E42E2DAF4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8229600" y="6256338"/>
            <a:ext cx="4159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CAD23A-5420-4FD6-B4B3-8B81F2D85DD2}" type="datetime'''''''Us''''''''''''e'''''''''''''''''''''''' 3'''''''''''''">
              <a:rPr lang="en-GB" altLang="en-US" sz="1400" smtClean="0">
                <a:latin typeface="Gill Sans MT" panose="020B0502020104020203" pitchFamily="34" charset="0"/>
              </a:rPr>
              <a:pPr/>
              <a:t>Use 3</a:t>
            </a:fld>
            <a:endParaRPr lang="en-GB" sz="1400" dirty="0">
              <a:latin typeface="Gill Sans MT" panose="020B0502020104020203" pitchFamily="34" charset="0"/>
              <a:sym typeface="+mn-lt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298B000-3F31-41F1-AAF5-A0E94956B721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0104438" y="6256338"/>
            <a:ext cx="701675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C0959CA-09D5-43FE-A563-DE2452534A45}" type="datetime'''F''''''''in''''''''an''c''''ing'' ''Ne''''''''''''e''''d'''">
              <a:rPr lang="en-GB" altLang="en-US" sz="1400" smtClean="0">
                <a:latin typeface="Gill Sans MT" panose="020B0502020104020203" pitchFamily="34" charset="0"/>
              </a:rPr>
              <a:pPr/>
              <a:t>Financing Need</a:t>
            </a:fld>
            <a:endParaRPr lang="en-GB" sz="1400" dirty="0">
              <a:latin typeface="Gill Sans MT" panose="020B0502020104020203" pitchFamily="34" charset="0"/>
              <a:sym typeface="+mn-lt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B2CEA6F-12D1-4DA1-BFE4-7D698C72A7CF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9239250" y="6256338"/>
            <a:ext cx="4159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4F5E2F-9B00-496C-A798-A3988D54C538}" type="datetime'''''''''''''''''''''''''''''U''''''''''se'' ''''''''4'">
              <a:rPr lang="en-GB" altLang="en-US" sz="1400" smtClean="0">
                <a:latin typeface="Gill Sans MT" panose="020B0502020104020203" pitchFamily="34" charset="0"/>
              </a:rPr>
              <a:pPr/>
              <a:t>Use 4</a:t>
            </a:fld>
            <a:endParaRPr lang="en-GB" sz="1400" dirty="0">
              <a:latin typeface="Gill Sans MT" panose="020B0502020104020203" pitchFamily="34" charset="0"/>
              <a:sym typeface="+mn-lt"/>
            </a:endParaRPr>
          </a:p>
        </p:txBody>
      </p:sp>
      <p:sp>
        <p:nvSpPr>
          <p:cNvPr id="13" name="Google Shape;121;p27">
            <a:extLst>
              <a:ext uri="{FF2B5EF4-FFF2-40B4-BE49-F238E27FC236}">
                <a16:creationId xmlns:a16="http://schemas.microsoft.com/office/drawing/2014/main" id="{B62978E0-4BF3-4C01-BB5C-D4275E10E3B2}"/>
              </a:ext>
            </a:extLst>
          </p:cNvPr>
          <p:cNvSpPr txBox="1">
            <a:spLocks/>
          </p:cNvSpPr>
          <p:nvPr/>
        </p:nvSpPr>
        <p:spPr>
          <a:xfrm>
            <a:off x="846306" y="2426719"/>
            <a:ext cx="5041875" cy="3296432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GB" sz="1600" b="1" dirty="0">
                <a:latin typeface="Gill Sans MT" panose="020B0502020104020203" pitchFamily="34" charset="0"/>
              </a:rPr>
              <a:t>Investment Focus</a:t>
            </a:r>
          </a:p>
          <a:p>
            <a:pPr>
              <a:spcBef>
                <a:spcPts val="0"/>
              </a:spcBef>
            </a:pPr>
            <a:r>
              <a:rPr lang="en-GB" sz="1600" dirty="0">
                <a:latin typeface="Gill Sans MT" panose="020B0502020104020203" pitchFamily="34" charset="0"/>
              </a:rPr>
              <a:t>[xx] mini grids in south-western Nigeria</a:t>
            </a:r>
          </a:p>
          <a:p>
            <a:pPr>
              <a:spcBef>
                <a:spcPts val="0"/>
              </a:spcBef>
            </a:pPr>
            <a:endParaRPr lang="en-GB" sz="1600" b="1" dirty="0">
              <a:latin typeface="Gill Sans MT" panose="020B0502020104020203" pitchFamily="34" charset="0"/>
            </a:endParaRPr>
          </a:p>
          <a:p>
            <a:pPr>
              <a:spcBef>
                <a:spcPts val="0"/>
              </a:spcBef>
            </a:pPr>
            <a:r>
              <a:rPr lang="en-GB" sz="1600" b="1" dirty="0">
                <a:latin typeface="Gill Sans MT" panose="020B0502020104020203" pitchFamily="34" charset="0"/>
              </a:rPr>
              <a:t>Shares on Offer</a:t>
            </a:r>
          </a:p>
          <a:p>
            <a:pPr>
              <a:spcBef>
                <a:spcPts val="0"/>
              </a:spcBef>
            </a:pPr>
            <a:r>
              <a:rPr lang="en-GB" sz="1600" dirty="0">
                <a:latin typeface="Gill Sans MT" panose="020B0502020104020203" pitchFamily="34" charset="0"/>
              </a:rPr>
              <a:t>[xx%]</a:t>
            </a:r>
          </a:p>
          <a:p>
            <a:pPr>
              <a:spcBef>
                <a:spcPts val="0"/>
              </a:spcBef>
            </a:pPr>
            <a:endParaRPr lang="en-GB" sz="1600" dirty="0">
              <a:latin typeface="Gill Sans MT" panose="020B0502020104020203" pitchFamily="34" charset="0"/>
            </a:endParaRPr>
          </a:p>
          <a:p>
            <a:pPr>
              <a:spcBef>
                <a:spcPts val="0"/>
              </a:spcBef>
            </a:pPr>
            <a:r>
              <a:rPr lang="en-GB" sz="1600" b="1" dirty="0">
                <a:latin typeface="Gill Sans MT" panose="020B0502020104020203" pitchFamily="34" charset="0"/>
              </a:rPr>
              <a:t>Planned Equity Raise</a:t>
            </a:r>
          </a:p>
          <a:p>
            <a:pPr>
              <a:spcBef>
                <a:spcPts val="0"/>
              </a:spcBef>
            </a:pPr>
            <a:r>
              <a:rPr lang="en-GB" sz="1600" dirty="0">
                <a:latin typeface="Gill Sans MT" panose="020B0502020104020203" pitchFamily="34" charset="0"/>
              </a:rPr>
              <a:t>USD [xx] million</a:t>
            </a:r>
          </a:p>
          <a:p>
            <a:pPr>
              <a:spcBef>
                <a:spcPts val="0"/>
              </a:spcBef>
            </a:pPr>
            <a:endParaRPr lang="en-GB" sz="1600" b="1" dirty="0">
              <a:latin typeface="Gill Sans MT" panose="020B0502020104020203" pitchFamily="34" charset="0"/>
            </a:endParaRPr>
          </a:p>
          <a:p>
            <a:pPr>
              <a:spcBef>
                <a:spcPts val="0"/>
              </a:spcBef>
            </a:pPr>
            <a:r>
              <a:rPr lang="en-GB" sz="1600" b="1" dirty="0">
                <a:latin typeface="Gill Sans MT" panose="020B0502020104020203" pitchFamily="34" charset="0"/>
              </a:rPr>
              <a:t>Planned Debt Raise</a:t>
            </a:r>
          </a:p>
          <a:p>
            <a:pPr>
              <a:spcBef>
                <a:spcPts val="0"/>
              </a:spcBef>
            </a:pPr>
            <a:r>
              <a:rPr lang="en-GB" sz="1600" dirty="0">
                <a:latin typeface="Gill Sans MT" panose="020B0502020104020203" pitchFamily="34" charset="0"/>
              </a:rPr>
              <a:t>USD [xx] million</a:t>
            </a:r>
          </a:p>
          <a:p>
            <a:pPr>
              <a:spcBef>
                <a:spcPts val="0"/>
              </a:spcBef>
            </a:pPr>
            <a:endParaRPr lang="en-GB" sz="1600" b="1" dirty="0">
              <a:latin typeface="Gill Sans MT" panose="020B0502020104020203" pitchFamily="34" charset="0"/>
            </a:endParaRPr>
          </a:p>
          <a:p>
            <a:pPr>
              <a:spcBef>
                <a:spcPts val="0"/>
              </a:spcBef>
            </a:pPr>
            <a:r>
              <a:rPr lang="en-GB" sz="1600" b="1" dirty="0">
                <a:latin typeface="Gill Sans MT" panose="020B0502020104020203" pitchFamily="34" charset="0"/>
              </a:rPr>
              <a:t>Target Debt Cost</a:t>
            </a:r>
          </a:p>
          <a:p>
            <a:pPr>
              <a:spcBef>
                <a:spcPts val="0"/>
              </a:spcBef>
            </a:pPr>
            <a:r>
              <a:rPr lang="en-GB" sz="1600" dirty="0">
                <a:latin typeface="Gill Sans MT" panose="020B0502020104020203" pitchFamily="34" charset="0"/>
              </a:rPr>
              <a:t>[x-x%]</a:t>
            </a:r>
          </a:p>
          <a:p>
            <a:pPr>
              <a:spcBef>
                <a:spcPts val="0"/>
              </a:spcBef>
            </a:pPr>
            <a:endParaRPr lang="en-GB" sz="1600" dirty="0">
              <a:latin typeface="Gill Sans MT" panose="020B0502020104020203" pitchFamily="34" charset="0"/>
            </a:endParaRPr>
          </a:p>
          <a:p>
            <a:pPr>
              <a:spcBef>
                <a:spcPts val="0"/>
              </a:spcBef>
            </a:pPr>
            <a:r>
              <a:rPr lang="en-GB" sz="1600" b="1" dirty="0">
                <a:latin typeface="Gill Sans MT" panose="020B0502020104020203" pitchFamily="34" charset="0"/>
              </a:rPr>
              <a:t>Target Debt Tenor</a:t>
            </a:r>
          </a:p>
          <a:p>
            <a:pPr>
              <a:spcBef>
                <a:spcPts val="0"/>
              </a:spcBef>
            </a:pPr>
            <a:r>
              <a:rPr lang="en-GB" sz="1600" dirty="0">
                <a:latin typeface="Gill Sans MT" panose="020B0502020104020203" pitchFamily="34" charset="0"/>
              </a:rPr>
              <a:t>[x yrs]</a:t>
            </a:r>
          </a:p>
          <a:p>
            <a:pPr>
              <a:spcBef>
                <a:spcPts val="0"/>
              </a:spcBef>
            </a:pPr>
            <a:endParaRPr lang="en-GB" sz="1600" dirty="0">
              <a:latin typeface="Gill Sans MT" panose="020B05020201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4F74C81-3F4F-4ACE-B138-EE9806A14D17}"/>
              </a:ext>
            </a:extLst>
          </p:cNvPr>
          <p:cNvSpPr txBox="1"/>
          <p:nvPr/>
        </p:nvSpPr>
        <p:spPr>
          <a:xfrm>
            <a:off x="838200" y="1925782"/>
            <a:ext cx="5077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latin typeface="Gill Sans MT" panose="020B0502020104020203" pitchFamily="34" charset="0"/>
              </a:rPr>
              <a:t>Investment Proposition [as applicable]</a:t>
            </a:r>
            <a:endParaRPr lang="en-NG" b="1" dirty="0">
              <a:latin typeface="Gill Sans MT" panose="020B05020201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082772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D51E53-E147-4DE8-9D49-B02B33228E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D27AE4-6172-4873-9F9F-2FF34C0059F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[Insert tagline as necessary]</a:t>
            </a: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65B8F4-99CB-4E38-9398-80D221CCA74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Additional Information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6DF6E3-43BF-4A81-B6A3-FBD735F4BDA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/>
              <a:t>Company Name, CONFIDENTIAL, </a:t>
            </a:r>
            <a:fld id="{6652347D-A1BD-466C-AC33-29B61A3E69AB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EC51F1A-13D6-49F1-B429-C18D59D7551E}"/>
              </a:ext>
            </a:extLst>
          </p:cNvPr>
          <p:cNvSpPr/>
          <p:nvPr/>
        </p:nvSpPr>
        <p:spPr>
          <a:xfrm>
            <a:off x="4028661" y="2792895"/>
            <a:ext cx="4134678" cy="1272209"/>
          </a:xfrm>
          <a:prstGeom prst="rect">
            <a:avLst/>
          </a:prstGeom>
          <a:solidFill>
            <a:srgbClr val="FF00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[Add Content or 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Remove Appendix as necessary]</a:t>
            </a:r>
          </a:p>
        </p:txBody>
      </p:sp>
    </p:spTree>
    <p:extLst>
      <p:ext uri="{BB962C8B-B14F-4D97-AF65-F5344CB8AC3E}">
        <p14:creationId xmlns:p14="http://schemas.microsoft.com/office/powerpoint/2010/main" val="14998278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9B51E17-F8F5-4D71-B6E8-57F41D8E3BBF}"/>
              </a:ext>
            </a:extLst>
          </p:cNvPr>
          <p:cNvSpPr/>
          <p:nvPr/>
        </p:nvSpPr>
        <p:spPr>
          <a:xfrm>
            <a:off x="487017" y="318052"/>
            <a:ext cx="2226366" cy="727505"/>
          </a:xfrm>
          <a:prstGeom prst="rect">
            <a:avLst/>
          </a:prstGeom>
          <a:solidFill>
            <a:srgbClr val="FF00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mpany X’s Logo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CF9125D-EBCB-4498-8A57-2BD19169264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88226" y="5344"/>
            <a:ext cx="7003774" cy="6847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6487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771A9E-0825-4ECD-97FE-EE71BD7132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AL COMMENTS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712858D-6FFB-45EC-A985-E1B5E9793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33B108-F193-4ECA-91A8-60242CE80984}" type="slidenum">
              <a:rPr lang="en-US" smtClean="0"/>
              <a:t>2</a:t>
            </a:fld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D48AEAD-39A0-4597-853B-EE238C49758B}"/>
              </a:ext>
            </a:extLst>
          </p:cNvPr>
          <p:cNvSpPr/>
          <p:nvPr/>
        </p:nvSpPr>
        <p:spPr>
          <a:xfrm>
            <a:off x="914399" y="2373990"/>
            <a:ext cx="10595113" cy="286065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en-GB" sz="2800" b="0" i="0" dirty="0">
                <a:solidFill>
                  <a:srgbClr val="FF0000"/>
                </a:solidFill>
                <a:effectLst/>
                <a:latin typeface="Söhne"/>
              </a:rPr>
              <a:t>Include a slide on your marketing strategy and how you plan to reach your target audience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2800" b="0" i="0" dirty="0">
                <a:solidFill>
                  <a:srgbClr val="FF0000"/>
                </a:solidFill>
                <a:effectLst/>
                <a:latin typeface="Söhne"/>
              </a:rPr>
              <a:t>Add a slide on your implementation plan and timeline for product or service launch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GB" sz="2800" b="0" i="0" dirty="0">
                <a:solidFill>
                  <a:srgbClr val="FF0000"/>
                </a:solidFill>
                <a:effectLst/>
                <a:latin typeface="Söhne"/>
              </a:rPr>
              <a:t>Include a slide on the potential risks and challenges of the project, and how you plan to mitigate them</a:t>
            </a:r>
          </a:p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highlight>
                <a:srgbClr val="FFFF00"/>
              </a:highlight>
              <a:uLnTx/>
              <a:uFillTx/>
              <a:latin typeface="Gill Sans MT" panose="020B05020201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43439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771A9E-0825-4ECD-97FE-EE71BD7132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knowledgement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712858D-6FFB-45EC-A985-E1B5E9793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33B108-F193-4ECA-91A8-60242CE80984}" type="slidenum">
              <a:rPr lang="en-US" smtClean="0"/>
              <a:t>3</a:t>
            </a:fld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D48AEAD-39A0-4597-853B-EE238C49758B}"/>
              </a:ext>
            </a:extLst>
          </p:cNvPr>
          <p:cNvSpPr/>
          <p:nvPr/>
        </p:nvSpPr>
        <p:spPr>
          <a:xfrm>
            <a:off x="914399" y="2373990"/>
            <a:ext cx="10595113" cy="174336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000000"/>
                </a:solidFill>
                <a:latin typeface="Gill Sans MT" panose="020B050202010402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is template was developed in cooperation between USAID’s Nigeria Power Sector Program (PA-NPSP) and the Renewable Energy Association of Nigeria (REAN).  This template represents a foundational organization for a potential off-grid focused pitch deck and should be modified to best represent individual company needs. </a:t>
            </a:r>
          </a:p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 panose="020B05020201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FF0000"/>
                </a:solidFill>
                <a:highlight>
                  <a:srgbClr val="FFFF00"/>
                </a:highlight>
                <a:latin typeface="Gill Sans MT" panose="020B050202010402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MOVE</a:t>
            </a:r>
            <a:r>
              <a:rPr lang="en-US" b="1" dirty="0">
                <a:solidFill>
                  <a:srgbClr val="000000"/>
                </a:solidFill>
                <a:highlight>
                  <a:srgbClr val="FFFF00"/>
                </a:highlight>
                <a:latin typeface="Gill Sans MT" panose="020B050202010402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b="1" dirty="0">
                <a:solidFill>
                  <a:srgbClr val="FF0000"/>
                </a:solidFill>
                <a:highlight>
                  <a:srgbClr val="FFFF00"/>
                </a:highlight>
                <a:latin typeface="Gill Sans MT" panose="020B050202010402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is slide prior to formally utilizing or presenting this template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highlight>
                <a:srgbClr val="FFFF00"/>
              </a:highlight>
              <a:uLnTx/>
              <a:uFillTx/>
              <a:latin typeface="Gill Sans MT" panose="020B05020201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47777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1ADD4A-94A1-4B80-A0B6-4B282BBC3E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blem Stateme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86CF02-A7E9-4454-8C4C-27214866AD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[Insert tagline as necessary]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E2299B-0510-4558-9066-43B1A280A81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Outlining the Issu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C74398C-4AD9-416E-88C8-E53AB9DDF8F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/>
              <a:t>Company Name, CONFIDENTIAL, </a:t>
            </a:r>
            <a:fld id="{6652347D-A1BD-466C-AC33-29B61A3E69AB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749E112-A227-42C8-8012-FFF6EC971D3E}"/>
              </a:ext>
            </a:extLst>
          </p:cNvPr>
          <p:cNvSpPr/>
          <p:nvPr/>
        </p:nvSpPr>
        <p:spPr>
          <a:xfrm>
            <a:off x="914400" y="2373990"/>
            <a:ext cx="5181600" cy="275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000000"/>
                </a:solidFill>
                <a:latin typeface="Gill Sans MT" panose="020B050202010402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[Insert Problem Statement Tagline]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 panose="020B05020201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6AF869A-1354-4D6A-AB71-B6A72F9F20D9}"/>
              </a:ext>
            </a:extLst>
          </p:cNvPr>
          <p:cNvCxnSpPr>
            <a:cxnSpLocks/>
          </p:cNvCxnSpPr>
          <p:nvPr/>
        </p:nvCxnSpPr>
        <p:spPr>
          <a:xfrm>
            <a:off x="914400" y="3130710"/>
            <a:ext cx="2764858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8CA9E3F6-93FB-4110-A016-E93C441D0823}"/>
              </a:ext>
            </a:extLst>
          </p:cNvPr>
          <p:cNvSpPr/>
          <p:nvPr/>
        </p:nvSpPr>
        <p:spPr>
          <a:xfrm>
            <a:off x="914399" y="3394891"/>
            <a:ext cx="5387009" cy="6647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Tx/>
              <a:buNone/>
              <a:tabLst/>
              <a:defRPr/>
            </a:pPr>
            <a:r>
              <a:rPr kumimoji="0" lang="en-US" sz="1400" b="0" i="0" u="none" strike="noStrike" kern="1200" cap="none" spc="-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ea typeface="Open Sans" charset="0"/>
                <a:cs typeface="Open Sans" charset="0"/>
              </a:rPr>
              <a:t>[Insert Description of Problem]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9DC7240-D503-4D88-99FD-6849FEB59531}"/>
              </a:ext>
            </a:extLst>
          </p:cNvPr>
          <p:cNvSpPr/>
          <p:nvPr/>
        </p:nvSpPr>
        <p:spPr>
          <a:xfrm>
            <a:off x="7351406" y="1996829"/>
            <a:ext cx="3912746" cy="4294641"/>
          </a:xfrm>
          <a:prstGeom prst="rect">
            <a:avLst/>
          </a:prstGeom>
          <a:solidFill>
            <a:srgbClr val="FF00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latin typeface="Gill Sans MT" panose="020B0502020104020203" pitchFamily="34" charset="0"/>
              </a:rPr>
              <a:t>[Insert metrics / graph / data to reinforce the issue statement] </a:t>
            </a:r>
          </a:p>
        </p:txBody>
      </p:sp>
    </p:spTree>
    <p:extLst>
      <p:ext uri="{BB962C8B-B14F-4D97-AF65-F5344CB8AC3E}">
        <p14:creationId xmlns:p14="http://schemas.microsoft.com/office/powerpoint/2010/main" val="5642212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BBFBA2-47B0-484D-B5EB-907D5F13AB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ny X’s Solu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5B0931-3849-4F26-80C6-02DB21163D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[Insert tagline as necessary]</a:t>
            </a: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B64CAB-4BEE-4FD1-9B7C-D3EDA8655B4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Solving the Problem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BBDDB4-841E-445E-8EA4-7AE974A80B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/>
              <a:t>Company Name, CONFIDENTIAL, </a:t>
            </a:r>
            <a:fld id="{6652347D-A1BD-466C-AC33-29B61A3E69AB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C1B0EB80-D5A4-4DA5-B826-38D60B85DE9D}"/>
              </a:ext>
            </a:extLst>
          </p:cNvPr>
          <p:cNvSpPr>
            <a:spLocks noChangeAspect="1"/>
          </p:cNvSpPr>
          <p:nvPr/>
        </p:nvSpPr>
        <p:spPr>
          <a:xfrm>
            <a:off x="2029866" y="2620299"/>
            <a:ext cx="553212" cy="553212"/>
          </a:xfrm>
          <a:prstGeom prst="ellipse">
            <a:avLst/>
          </a:prstGeom>
          <a:solidFill>
            <a:schemeClr val="bg1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60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Chronicle Display Black"/>
                <a:ea typeface="+mn-ea"/>
                <a:cs typeface="+mn-cs"/>
              </a:rPr>
              <a:t>1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F06D9BD-1C45-4A86-9253-E22B6437994B}"/>
              </a:ext>
            </a:extLst>
          </p:cNvPr>
          <p:cNvSpPr>
            <a:spLocks noChangeAspect="1"/>
          </p:cNvSpPr>
          <p:nvPr/>
        </p:nvSpPr>
        <p:spPr>
          <a:xfrm>
            <a:off x="5839375" y="2656702"/>
            <a:ext cx="553212" cy="553212"/>
          </a:xfrm>
          <a:prstGeom prst="ellipse">
            <a:avLst/>
          </a:prstGeom>
          <a:solidFill>
            <a:schemeClr val="bg1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60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Chronicle Display Black"/>
                <a:ea typeface="+mn-ea"/>
                <a:cs typeface="+mn-cs"/>
              </a:rPr>
              <a:t>2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77180B0-D7A0-4996-874E-B81894853C24}"/>
              </a:ext>
            </a:extLst>
          </p:cNvPr>
          <p:cNvSpPr>
            <a:spLocks noChangeAspect="1"/>
          </p:cNvSpPr>
          <p:nvPr/>
        </p:nvSpPr>
        <p:spPr>
          <a:xfrm>
            <a:off x="9633202" y="2656702"/>
            <a:ext cx="553212" cy="553212"/>
          </a:xfrm>
          <a:prstGeom prst="ellipse">
            <a:avLst/>
          </a:prstGeom>
          <a:solidFill>
            <a:schemeClr val="bg1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60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Chronicle Display Black"/>
                <a:ea typeface="+mn-ea"/>
                <a:cs typeface="+mn-cs"/>
              </a:rPr>
              <a:t>3</a:t>
            </a:r>
          </a:p>
        </p:txBody>
      </p:sp>
      <p:sp>
        <p:nvSpPr>
          <p:cNvPr id="9" name="Shape 175">
            <a:extLst>
              <a:ext uri="{FF2B5EF4-FFF2-40B4-BE49-F238E27FC236}">
                <a16:creationId xmlns:a16="http://schemas.microsoft.com/office/drawing/2014/main" id="{EAFE2815-C1F8-4B69-A8AD-C6DFB1228B56}"/>
              </a:ext>
            </a:extLst>
          </p:cNvPr>
          <p:cNvSpPr/>
          <p:nvPr/>
        </p:nvSpPr>
        <p:spPr>
          <a:xfrm>
            <a:off x="1254912" y="2591128"/>
            <a:ext cx="2103120" cy="73152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DD300"/>
              </a:buClr>
              <a:buSzPct val="25000"/>
              <a:buFontTx/>
              <a:buNone/>
              <a:tabLst/>
              <a:defRPr/>
            </a:pPr>
            <a:r>
              <a:rPr kumimoji="0" lang="en-US" sz="2400" b="0" i="0" u="none" strike="noStrike" kern="1200" cap="none" spc="-75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  <a:sym typeface="Verdana"/>
              </a:rPr>
              <a:t>Company Solution </a:t>
            </a:r>
          </a:p>
        </p:txBody>
      </p:sp>
      <p:sp>
        <p:nvSpPr>
          <p:cNvPr id="10" name="Shape 176">
            <a:extLst>
              <a:ext uri="{FF2B5EF4-FFF2-40B4-BE49-F238E27FC236}">
                <a16:creationId xmlns:a16="http://schemas.microsoft.com/office/drawing/2014/main" id="{AAD133A1-44A7-4AE7-878A-BA6AFE481E5B}"/>
              </a:ext>
            </a:extLst>
          </p:cNvPr>
          <p:cNvSpPr/>
          <p:nvPr/>
        </p:nvSpPr>
        <p:spPr>
          <a:xfrm>
            <a:off x="4694544" y="2591128"/>
            <a:ext cx="2842875" cy="73152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DD300"/>
              </a:buClr>
              <a:buSzPct val="25000"/>
              <a:buFontTx/>
              <a:buNone/>
              <a:tabLst/>
              <a:defRPr/>
            </a:pPr>
            <a:r>
              <a:rPr kumimoji="0" lang="en-US" sz="2400" b="0" i="0" u="none" strike="noStrike" kern="1200" cap="none" spc="-75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  <a:sym typeface="Verdana"/>
              </a:rPr>
              <a:t>Technical Details</a:t>
            </a:r>
          </a:p>
        </p:txBody>
      </p:sp>
      <p:sp>
        <p:nvSpPr>
          <p:cNvPr id="11" name="Shape 177">
            <a:extLst>
              <a:ext uri="{FF2B5EF4-FFF2-40B4-BE49-F238E27FC236}">
                <a16:creationId xmlns:a16="http://schemas.microsoft.com/office/drawing/2014/main" id="{CE494093-5AAA-4845-9D7B-FBE3F6883D4F}"/>
              </a:ext>
            </a:extLst>
          </p:cNvPr>
          <p:cNvSpPr/>
          <p:nvPr/>
        </p:nvSpPr>
        <p:spPr>
          <a:xfrm>
            <a:off x="8675638" y="2591128"/>
            <a:ext cx="2468341" cy="73152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DD300"/>
              </a:buClr>
              <a:buSzPct val="25000"/>
              <a:buFontTx/>
              <a:buNone/>
              <a:tabLst/>
              <a:defRPr/>
            </a:pPr>
            <a:r>
              <a:rPr lang="en-US" sz="2400" spc="-75" dirty="0">
                <a:solidFill>
                  <a:srgbClr val="000000"/>
                </a:solidFill>
                <a:ea typeface="Open Sans Light" panose="020B0306030504020204" pitchFamily="34" charset="0"/>
                <a:cs typeface="Open Sans Light" panose="020B0306030504020204" pitchFamily="34" charset="0"/>
                <a:sym typeface="Verdana"/>
              </a:rPr>
              <a:t>Addressing the Problem Statement </a:t>
            </a:r>
            <a:endParaRPr kumimoji="0" lang="en-US" sz="2400" b="0" i="0" u="none" strike="noStrike" kern="1200" cap="none" spc="-75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Open Sans Light" panose="020B0306030504020204" pitchFamily="34" charset="0"/>
              <a:cs typeface="Open Sans Light" panose="020B0306030504020204" pitchFamily="34" charset="0"/>
              <a:sym typeface="Verdana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F217B7E-EC2A-46C3-86C4-05D75C569A74}"/>
              </a:ext>
            </a:extLst>
          </p:cNvPr>
          <p:cNvSpPr/>
          <p:nvPr/>
        </p:nvSpPr>
        <p:spPr>
          <a:xfrm>
            <a:off x="8430311" y="2219634"/>
            <a:ext cx="2842875" cy="4086506"/>
          </a:xfrm>
          <a:prstGeom prst="rect">
            <a:avLst/>
          </a:prstGeom>
          <a:solidFill>
            <a:schemeClr val="accent2">
              <a:lumMod val="20000"/>
              <a:lumOff val="80000"/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EBB58F8-3827-4F2F-B1A2-15F03240A576}"/>
              </a:ext>
            </a:extLst>
          </p:cNvPr>
          <p:cNvSpPr/>
          <p:nvPr/>
        </p:nvSpPr>
        <p:spPr>
          <a:xfrm>
            <a:off x="8434428" y="1959173"/>
            <a:ext cx="2834640" cy="26046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041DC29-08A7-4B71-B507-F3E0B4E943A0}"/>
              </a:ext>
            </a:extLst>
          </p:cNvPr>
          <p:cNvSpPr/>
          <p:nvPr/>
        </p:nvSpPr>
        <p:spPr>
          <a:xfrm>
            <a:off x="8434761" y="6306150"/>
            <a:ext cx="2834640" cy="7253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70AD11E-3879-4AEF-BF2F-D429ADC87717}"/>
              </a:ext>
            </a:extLst>
          </p:cNvPr>
          <p:cNvSpPr/>
          <p:nvPr/>
        </p:nvSpPr>
        <p:spPr>
          <a:xfrm>
            <a:off x="4685859" y="2219634"/>
            <a:ext cx="2842875" cy="4086506"/>
          </a:xfrm>
          <a:prstGeom prst="rect">
            <a:avLst/>
          </a:prstGeom>
          <a:solidFill>
            <a:schemeClr val="accent3">
              <a:lumMod val="40000"/>
              <a:lumOff val="60000"/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DCB632D-CF26-4CF9-BBF3-3D8020D41FC9}"/>
              </a:ext>
            </a:extLst>
          </p:cNvPr>
          <p:cNvSpPr/>
          <p:nvPr/>
        </p:nvSpPr>
        <p:spPr>
          <a:xfrm>
            <a:off x="4709809" y="1959173"/>
            <a:ext cx="2834640" cy="26046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D22EC4F-DFBA-4F93-9D55-8D725A7BD33A}"/>
              </a:ext>
            </a:extLst>
          </p:cNvPr>
          <p:cNvSpPr/>
          <p:nvPr/>
        </p:nvSpPr>
        <p:spPr>
          <a:xfrm>
            <a:off x="4710142" y="6306150"/>
            <a:ext cx="2834640" cy="725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2747885-101A-49D4-99CF-2F79A58064A0}"/>
              </a:ext>
            </a:extLst>
          </p:cNvPr>
          <p:cNvSpPr/>
          <p:nvPr/>
        </p:nvSpPr>
        <p:spPr>
          <a:xfrm>
            <a:off x="941407" y="2219634"/>
            <a:ext cx="2842875" cy="4086506"/>
          </a:xfrm>
          <a:prstGeom prst="rect">
            <a:avLst/>
          </a:prstGeom>
          <a:solidFill>
            <a:schemeClr val="tx2">
              <a:lumMod val="20000"/>
              <a:lumOff val="80000"/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4BC6382-8E7B-4615-A428-69FA810D43CC}"/>
              </a:ext>
            </a:extLst>
          </p:cNvPr>
          <p:cNvSpPr/>
          <p:nvPr/>
        </p:nvSpPr>
        <p:spPr>
          <a:xfrm>
            <a:off x="933983" y="1959173"/>
            <a:ext cx="2834640" cy="26046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8786C83-C002-461E-94A6-E7AF20B6ADFE}"/>
              </a:ext>
            </a:extLst>
          </p:cNvPr>
          <p:cNvSpPr/>
          <p:nvPr/>
        </p:nvSpPr>
        <p:spPr>
          <a:xfrm>
            <a:off x="934316" y="6306150"/>
            <a:ext cx="2834640" cy="725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4A71DDF-566F-465B-93CC-DFD5FFBCF28A}"/>
              </a:ext>
            </a:extLst>
          </p:cNvPr>
          <p:cNvSpPr/>
          <p:nvPr/>
        </p:nvSpPr>
        <p:spPr>
          <a:xfrm>
            <a:off x="949185" y="3718449"/>
            <a:ext cx="268807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anose="020B0502020104020203" pitchFamily="34" charset="0"/>
                <a:ea typeface="Verdana" panose="020B0604030504040204" pitchFamily="34" charset="0"/>
                <a:cs typeface="Verdana" panose="020B0604030504040204" pitchFamily="34" charset="0"/>
              </a:rPr>
              <a:t>[Insert]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 panose="020B050202010402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15A2828-0E95-47F5-B747-AD4501D7EE78}"/>
              </a:ext>
            </a:extLst>
          </p:cNvPr>
          <p:cNvSpPr/>
          <p:nvPr/>
        </p:nvSpPr>
        <p:spPr>
          <a:xfrm>
            <a:off x="4736458" y="3718449"/>
            <a:ext cx="268807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1400" dirty="0">
                <a:solidFill>
                  <a:srgbClr val="000000"/>
                </a:solidFill>
                <a:latin typeface="Gill Sans MT" panose="020B0502020104020203" pitchFamily="34" charset="0"/>
                <a:ea typeface="Verdana" panose="020B0604030504040204" pitchFamily="34" charset="0"/>
                <a:cs typeface="Verdana" panose="020B0604030504040204" pitchFamily="34" charset="0"/>
              </a:rPr>
              <a:t>[Insert]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 panose="020B0502020104020203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F343482-D27C-41BB-AE7B-76DB847428E9}"/>
              </a:ext>
            </a:extLst>
          </p:cNvPr>
          <p:cNvSpPr/>
          <p:nvPr/>
        </p:nvSpPr>
        <p:spPr>
          <a:xfrm>
            <a:off x="8492839" y="3756478"/>
            <a:ext cx="261560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1400" dirty="0">
                <a:solidFill>
                  <a:srgbClr val="000000"/>
                </a:solidFill>
                <a:latin typeface="Gill Sans MT" panose="020B0502020104020203" pitchFamily="34" charset="0"/>
                <a:ea typeface="Verdana" panose="020B0604030504040204" pitchFamily="34" charset="0"/>
                <a:cs typeface="Verdana" panose="020B0604030504040204" pitchFamily="34" charset="0"/>
              </a:rPr>
              <a:t>[Insert]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MT" panose="020B05020201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7131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53D571-F24F-4152-A6A7-C2647B0927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Ket Siz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B81C18-948E-4E93-9226-98D1DCD98E4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[Insert tagline as necessary]</a:t>
            </a: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D9558C-117D-49ED-A14C-C7AC389D8D2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Assessing Sca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EC22E59-34FC-477C-9CEE-CCD4C11C36D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/>
              <a:t>Company Name, CONFIDENTIAL, </a:t>
            </a:r>
            <a:fld id="{6652347D-A1BD-466C-AC33-29B61A3E69AB}" type="slidenum">
              <a:rPr lang="en-US" smtClean="0"/>
              <a:pPr/>
              <a:t>6</a:t>
            </a:fld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B1E42BF-23E2-4DA3-AF6E-B32245A88234}"/>
              </a:ext>
            </a:extLst>
          </p:cNvPr>
          <p:cNvGrpSpPr/>
          <p:nvPr/>
        </p:nvGrpSpPr>
        <p:grpSpPr>
          <a:xfrm>
            <a:off x="6886576" y="2368777"/>
            <a:ext cx="4467224" cy="3622675"/>
            <a:chOff x="4262438" y="2597150"/>
            <a:chExt cx="4467224" cy="3622675"/>
          </a:xfrm>
          <a:solidFill>
            <a:schemeClr val="bg1">
              <a:lumMod val="50000"/>
            </a:schemeClr>
          </a:solidFill>
        </p:grpSpPr>
        <p:sp>
          <p:nvSpPr>
            <p:cNvPr id="7" name="Freeform 185">
              <a:extLst>
                <a:ext uri="{FF2B5EF4-FFF2-40B4-BE49-F238E27FC236}">
                  <a16:creationId xmlns:a16="http://schemas.microsoft.com/office/drawing/2014/main" id="{52E5E7CC-4157-4956-8D3C-B9E4C8DE0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75" y="2835275"/>
              <a:ext cx="960437" cy="1203325"/>
            </a:xfrm>
            <a:custGeom>
              <a:avLst/>
              <a:gdLst>
                <a:gd name="T0" fmla="*/ 244 w 605"/>
                <a:gd name="T1" fmla="*/ 375 h 758"/>
                <a:gd name="T2" fmla="*/ 258 w 605"/>
                <a:gd name="T3" fmla="*/ 394 h 758"/>
                <a:gd name="T4" fmla="*/ 276 w 605"/>
                <a:gd name="T5" fmla="*/ 382 h 758"/>
                <a:gd name="T6" fmla="*/ 295 w 605"/>
                <a:gd name="T7" fmla="*/ 377 h 758"/>
                <a:gd name="T8" fmla="*/ 313 w 605"/>
                <a:gd name="T9" fmla="*/ 366 h 758"/>
                <a:gd name="T10" fmla="*/ 332 w 605"/>
                <a:gd name="T11" fmla="*/ 367 h 758"/>
                <a:gd name="T12" fmla="*/ 348 w 605"/>
                <a:gd name="T13" fmla="*/ 370 h 758"/>
                <a:gd name="T14" fmla="*/ 372 w 605"/>
                <a:gd name="T15" fmla="*/ 370 h 758"/>
                <a:gd name="T16" fmla="*/ 404 w 605"/>
                <a:gd name="T17" fmla="*/ 366 h 758"/>
                <a:gd name="T18" fmla="*/ 412 w 605"/>
                <a:gd name="T19" fmla="*/ 358 h 758"/>
                <a:gd name="T20" fmla="*/ 432 w 605"/>
                <a:gd name="T21" fmla="*/ 354 h 758"/>
                <a:gd name="T22" fmla="*/ 439 w 605"/>
                <a:gd name="T23" fmla="*/ 358 h 758"/>
                <a:gd name="T24" fmla="*/ 464 w 605"/>
                <a:gd name="T25" fmla="*/ 374 h 758"/>
                <a:gd name="T26" fmla="*/ 482 w 605"/>
                <a:gd name="T27" fmla="*/ 383 h 758"/>
                <a:gd name="T28" fmla="*/ 498 w 605"/>
                <a:gd name="T29" fmla="*/ 385 h 758"/>
                <a:gd name="T30" fmla="*/ 510 w 605"/>
                <a:gd name="T31" fmla="*/ 385 h 758"/>
                <a:gd name="T32" fmla="*/ 531 w 605"/>
                <a:gd name="T33" fmla="*/ 377 h 758"/>
                <a:gd name="T34" fmla="*/ 558 w 605"/>
                <a:gd name="T35" fmla="*/ 385 h 758"/>
                <a:gd name="T36" fmla="*/ 568 w 605"/>
                <a:gd name="T37" fmla="*/ 397 h 758"/>
                <a:gd name="T38" fmla="*/ 605 w 605"/>
                <a:gd name="T39" fmla="*/ 496 h 758"/>
                <a:gd name="T40" fmla="*/ 560 w 605"/>
                <a:gd name="T41" fmla="*/ 536 h 758"/>
                <a:gd name="T42" fmla="*/ 455 w 605"/>
                <a:gd name="T43" fmla="*/ 528 h 758"/>
                <a:gd name="T44" fmla="*/ 314 w 605"/>
                <a:gd name="T45" fmla="*/ 479 h 758"/>
                <a:gd name="T46" fmla="*/ 309 w 605"/>
                <a:gd name="T47" fmla="*/ 498 h 758"/>
                <a:gd name="T48" fmla="*/ 346 w 605"/>
                <a:gd name="T49" fmla="*/ 531 h 758"/>
                <a:gd name="T50" fmla="*/ 373 w 605"/>
                <a:gd name="T51" fmla="*/ 533 h 758"/>
                <a:gd name="T52" fmla="*/ 394 w 605"/>
                <a:gd name="T53" fmla="*/ 584 h 758"/>
                <a:gd name="T54" fmla="*/ 373 w 605"/>
                <a:gd name="T55" fmla="*/ 605 h 758"/>
                <a:gd name="T56" fmla="*/ 349 w 605"/>
                <a:gd name="T57" fmla="*/ 616 h 758"/>
                <a:gd name="T58" fmla="*/ 325 w 605"/>
                <a:gd name="T59" fmla="*/ 614 h 758"/>
                <a:gd name="T60" fmla="*/ 316 w 605"/>
                <a:gd name="T61" fmla="*/ 635 h 758"/>
                <a:gd name="T62" fmla="*/ 330 w 605"/>
                <a:gd name="T63" fmla="*/ 673 h 758"/>
                <a:gd name="T64" fmla="*/ 352 w 605"/>
                <a:gd name="T65" fmla="*/ 681 h 758"/>
                <a:gd name="T66" fmla="*/ 287 w 605"/>
                <a:gd name="T67" fmla="*/ 720 h 758"/>
                <a:gd name="T68" fmla="*/ 255 w 605"/>
                <a:gd name="T69" fmla="*/ 758 h 758"/>
                <a:gd name="T70" fmla="*/ 246 w 605"/>
                <a:gd name="T71" fmla="*/ 704 h 758"/>
                <a:gd name="T72" fmla="*/ 252 w 605"/>
                <a:gd name="T73" fmla="*/ 653 h 758"/>
                <a:gd name="T74" fmla="*/ 295 w 605"/>
                <a:gd name="T75" fmla="*/ 583 h 758"/>
                <a:gd name="T76" fmla="*/ 228 w 605"/>
                <a:gd name="T77" fmla="*/ 570 h 758"/>
                <a:gd name="T78" fmla="*/ 131 w 605"/>
                <a:gd name="T79" fmla="*/ 544 h 758"/>
                <a:gd name="T80" fmla="*/ 78 w 605"/>
                <a:gd name="T81" fmla="*/ 509 h 758"/>
                <a:gd name="T82" fmla="*/ 8 w 605"/>
                <a:gd name="T83" fmla="*/ 439 h 758"/>
                <a:gd name="T84" fmla="*/ 29 w 605"/>
                <a:gd name="T85" fmla="*/ 382 h 758"/>
                <a:gd name="T86" fmla="*/ 40 w 605"/>
                <a:gd name="T87" fmla="*/ 326 h 758"/>
                <a:gd name="T88" fmla="*/ 44 w 605"/>
                <a:gd name="T89" fmla="*/ 251 h 758"/>
                <a:gd name="T90" fmla="*/ 108 w 605"/>
                <a:gd name="T91" fmla="*/ 126 h 758"/>
                <a:gd name="T92" fmla="*/ 155 w 605"/>
                <a:gd name="T93" fmla="*/ 54 h 758"/>
                <a:gd name="T94" fmla="*/ 204 w 605"/>
                <a:gd name="T95" fmla="*/ 5 h 758"/>
                <a:gd name="T96" fmla="*/ 316 w 605"/>
                <a:gd name="T97" fmla="*/ 26 h 758"/>
                <a:gd name="T98" fmla="*/ 317 w 605"/>
                <a:gd name="T99" fmla="*/ 161 h 758"/>
                <a:gd name="T100" fmla="*/ 277 w 605"/>
                <a:gd name="T101" fmla="*/ 208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5" h="758">
                  <a:moveTo>
                    <a:pt x="265" y="299"/>
                  </a:moveTo>
                  <a:lnTo>
                    <a:pt x="266" y="307"/>
                  </a:lnTo>
                  <a:lnTo>
                    <a:pt x="263" y="322"/>
                  </a:lnTo>
                  <a:lnTo>
                    <a:pt x="244" y="375"/>
                  </a:lnTo>
                  <a:lnTo>
                    <a:pt x="244" y="385"/>
                  </a:lnTo>
                  <a:lnTo>
                    <a:pt x="250" y="393"/>
                  </a:lnTo>
                  <a:lnTo>
                    <a:pt x="255" y="389"/>
                  </a:lnTo>
                  <a:lnTo>
                    <a:pt x="258" y="394"/>
                  </a:lnTo>
                  <a:lnTo>
                    <a:pt x="260" y="394"/>
                  </a:lnTo>
                  <a:lnTo>
                    <a:pt x="265" y="386"/>
                  </a:lnTo>
                  <a:lnTo>
                    <a:pt x="273" y="386"/>
                  </a:lnTo>
                  <a:lnTo>
                    <a:pt x="276" y="382"/>
                  </a:lnTo>
                  <a:lnTo>
                    <a:pt x="282" y="382"/>
                  </a:lnTo>
                  <a:lnTo>
                    <a:pt x="282" y="377"/>
                  </a:lnTo>
                  <a:lnTo>
                    <a:pt x="285" y="380"/>
                  </a:lnTo>
                  <a:lnTo>
                    <a:pt x="295" y="377"/>
                  </a:lnTo>
                  <a:lnTo>
                    <a:pt x="301" y="370"/>
                  </a:lnTo>
                  <a:lnTo>
                    <a:pt x="306" y="372"/>
                  </a:lnTo>
                  <a:lnTo>
                    <a:pt x="306" y="367"/>
                  </a:lnTo>
                  <a:lnTo>
                    <a:pt x="313" y="366"/>
                  </a:lnTo>
                  <a:lnTo>
                    <a:pt x="319" y="359"/>
                  </a:lnTo>
                  <a:lnTo>
                    <a:pt x="325" y="362"/>
                  </a:lnTo>
                  <a:lnTo>
                    <a:pt x="327" y="367"/>
                  </a:lnTo>
                  <a:lnTo>
                    <a:pt x="332" y="367"/>
                  </a:lnTo>
                  <a:lnTo>
                    <a:pt x="333" y="364"/>
                  </a:lnTo>
                  <a:lnTo>
                    <a:pt x="337" y="364"/>
                  </a:lnTo>
                  <a:lnTo>
                    <a:pt x="337" y="374"/>
                  </a:lnTo>
                  <a:lnTo>
                    <a:pt x="348" y="370"/>
                  </a:lnTo>
                  <a:lnTo>
                    <a:pt x="351" y="366"/>
                  </a:lnTo>
                  <a:lnTo>
                    <a:pt x="364" y="364"/>
                  </a:lnTo>
                  <a:lnTo>
                    <a:pt x="368" y="370"/>
                  </a:lnTo>
                  <a:lnTo>
                    <a:pt x="372" y="370"/>
                  </a:lnTo>
                  <a:lnTo>
                    <a:pt x="376" y="374"/>
                  </a:lnTo>
                  <a:lnTo>
                    <a:pt x="383" y="367"/>
                  </a:lnTo>
                  <a:lnTo>
                    <a:pt x="392" y="369"/>
                  </a:lnTo>
                  <a:lnTo>
                    <a:pt x="404" y="366"/>
                  </a:lnTo>
                  <a:lnTo>
                    <a:pt x="405" y="359"/>
                  </a:lnTo>
                  <a:lnTo>
                    <a:pt x="400" y="356"/>
                  </a:lnTo>
                  <a:lnTo>
                    <a:pt x="404" y="353"/>
                  </a:lnTo>
                  <a:lnTo>
                    <a:pt x="412" y="358"/>
                  </a:lnTo>
                  <a:lnTo>
                    <a:pt x="413" y="362"/>
                  </a:lnTo>
                  <a:lnTo>
                    <a:pt x="424" y="356"/>
                  </a:lnTo>
                  <a:lnTo>
                    <a:pt x="429" y="359"/>
                  </a:lnTo>
                  <a:lnTo>
                    <a:pt x="432" y="354"/>
                  </a:lnTo>
                  <a:lnTo>
                    <a:pt x="435" y="354"/>
                  </a:lnTo>
                  <a:lnTo>
                    <a:pt x="435" y="358"/>
                  </a:lnTo>
                  <a:lnTo>
                    <a:pt x="431" y="362"/>
                  </a:lnTo>
                  <a:lnTo>
                    <a:pt x="439" y="358"/>
                  </a:lnTo>
                  <a:lnTo>
                    <a:pt x="440" y="366"/>
                  </a:lnTo>
                  <a:lnTo>
                    <a:pt x="445" y="370"/>
                  </a:lnTo>
                  <a:lnTo>
                    <a:pt x="443" y="374"/>
                  </a:lnTo>
                  <a:lnTo>
                    <a:pt x="464" y="374"/>
                  </a:lnTo>
                  <a:lnTo>
                    <a:pt x="467" y="377"/>
                  </a:lnTo>
                  <a:lnTo>
                    <a:pt x="469" y="383"/>
                  </a:lnTo>
                  <a:lnTo>
                    <a:pt x="477" y="386"/>
                  </a:lnTo>
                  <a:lnTo>
                    <a:pt x="482" y="383"/>
                  </a:lnTo>
                  <a:lnTo>
                    <a:pt x="488" y="385"/>
                  </a:lnTo>
                  <a:lnTo>
                    <a:pt x="493" y="382"/>
                  </a:lnTo>
                  <a:lnTo>
                    <a:pt x="493" y="378"/>
                  </a:lnTo>
                  <a:lnTo>
                    <a:pt x="498" y="385"/>
                  </a:lnTo>
                  <a:lnTo>
                    <a:pt x="501" y="382"/>
                  </a:lnTo>
                  <a:lnTo>
                    <a:pt x="504" y="385"/>
                  </a:lnTo>
                  <a:lnTo>
                    <a:pt x="506" y="383"/>
                  </a:lnTo>
                  <a:lnTo>
                    <a:pt x="510" y="385"/>
                  </a:lnTo>
                  <a:lnTo>
                    <a:pt x="522" y="383"/>
                  </a:lnTo>
                  <a:lnTo>
                    <a:pt x="525" y="385"/>
                  </a:lnTo>
                  <a:lnTo>
                    <a:pt x="531" y="380"/>
                  </a:lnTo>
                  <a:lnTo>
                    <a:pt x="531" y="377"/>
                  </a:lnTo>
                  <a:lnTo>
                    <a:pt x="534" y="380"/>
                  </a:lnTo>
                  <a:lnTo>
                    <a:pt x="542" y="378"/>
                  </a:lnTo>
                  <a:lnTo>
                    <a:pt x="552" y="386"/>
                  </a:lnTo>
                  <a:lnTo>
                    <a:pt x="558" y="385"/>
                  </a:lnTo>
                  <a:lnTo>
                    <a:pt x="560" y="389"/>
                  </a:lnTo>
                  <a:lnTo>
                    <a:pt x="566" y="393"/>
                  </a:lnTo>
                  <a:lnTo>
                    <a:pt x="565" y="394"/>
                  </a:lnTo>
                  <a:lnTo>
                    <a:pt x="568" y="397"/>
                  </a:lnTo>
                  <a:lnTo>
                    <a:pt x="570" y="412"/>
                  </a:lnTo>
                  <a:lnTo>
                    <a:pt x="566" y="433"/>
                  </a:lnTo>
                  <a:lnTo>
                    <a:pt x="600" y="472"/>
                  </a:lnTo>
                  <a:lnTo>
                    <a:pt x="605" y="496"/>
                  </a:lnTo>
                  <a:lnTo>
                    <a:pt x="600" y="519"/>
                  </a:lnTo>
                  <a:lnTo>
                    <a:pt x="582" y="519"/>
                  </a:lnTo>
                  <a:lnTo>
                    <a:pt x="568" y="533"/>
                  </a:lnTo>
                  <a:lnTo>
                    <a:pt x="560" y="536"/>
                  </a:lnTo>
                  <a:lnTo>
                    <a:pt x="526" y="538"/>
                  </a:lnTo>
                  <a:lnTo>
                    <a:pt x="480" y="530"/>
                  </a:lnTo>
                  <a:lnTo>
                    <a:pt x="458" y="530"/>
                  </a:lnTo>
                  <a:lnTo>
                    <a:pt x="455" y="528"/>
                  </a:lnTo>
                  <a:lnTo>
                    <a:pt x="427" y="472"/>
                  </a:lnTo>
                  <a:lnTo>
                    <a:pt x="423" y="469"/>
                  </a:lnTo>
                  <a:lnTo>
                    <a:pt x="360" y="469"/>
                  </a:lnTo>
                  <a:lnTo>
                    <a:pt x="314" y="479"/>
                  </a:lnTo>
                  <a:lnTo>
                    <a:pt x="303" y="484"/>
                  </a:lnTo>
                  <a:lnTo>
                    <a:pt x="301" y="490"/>
                  </a:lnTo>
                  <a:lnTo>
                    <a:pt x="303" y="493"/>
                  </a:lnTo>
                  <a:lnTo>
                    <a:pt x="309" y="498"/>
                  </a:lnTo>
                  <a:lnTo>
                    <a:pt x="324" y="498"/>
                  </a:lnTo>
                  <a:lnTo>
                    <a:pt x="324" y="506"/>
                  </a:lnTo>
                  <a:lnTo>
                    <a:pt x="330" y="506"/>
                  </a:lnTo>
                  <a:lnTo>
                    <a:pt x="346" y="531"/>
                  </a:lnTo>
                  <a:lnTo>
                    <a:pt x="356" y="523"/>
                  </a:lnTo>
                  <a:lnTo>
                    <a:pt x="365" y="528"/>
                  </a:lnTo>
                  <a:lnTo>
                    <a:pt x="368" y="535"/>
                  </a:lnTo>
                  <a:lnTo>
                    <a:pt x="373" y="533"/>
                  </a:lnTo>
                  <a:lnTo>
                    <a:pt x="383" y="565"/>
                  </a:lnTo>
                  <a:lnTo>
                    <a:pt x="375" y="571"/>
                  </a:lnTo>
                  <a:lnTo>
                    <a:pt x="376" y="583"/>
                  </a:lnTo>
                  <a:lnTo>
                    <a:pt x="394" y="584"/>
                  </a:lnTo>
                  <a:lnTo>
                    <a:pt x="386" y="600"/>
                  </a:lnTo>
                  <a:lnTo>
                    <a:pt x="381" y="600"/>
                  </a:lnTo>
                  <a:lnTo>
                    <a:pt x="380" y="603"/>
                  </a:lnTo>
                  <a:lnTo>
                    <a:pt x="373" y="605"/>
                  </a:lnTo>
                  <a:lnTo>
                    <a:pt x="367" y="602"/>
                  </a:lnTo>
                  <a:lnTo>
                    <a:pt x="364" y="608"/>
                  </a:lnTo>
                  <a:lnTo>
                    <a:pt x="351" y="613"/>
                  </a:lnTo>
                  <a:lnTo>
                    <a:pt x="349" y="616"/>
                  </a:lnTo>
                  <a:lnTo>
                    <a:pt x="340" y="616"/>
                  </a:lnTo>
                  <a:lnTo>
                    <a:pt x="337" y="613"/>
                  </a:lnTo>
                  <a:lnTo>
                    <a:pt x="329" y="613"/>
                  </a:lnTo>
                  <a:lnTo>
                    <a:pt x="325" y="614"/>
                  </a:lnTo>
                  <a:lnTo>
                    <a:pt x="321" y="613"/>
                  </a:lnTo>
                  <a:lnTo>
                    <a:pt x="311" y="619"/>
                  </a:lnTo>
                  <a:lnTo>
                    <a:pt x="316" y="622"/>
                  </a:lnTo>
                  <a:lnTo>
                    <a:pt x="316" y="635"/>
                  </a:lnTo>
                  <a:lnTo>
                    <a:pt x="319" y="648"/>
                  </a:lnTo>
                  <a:lnTo>
                    <a:pt x="316" y="659"/>
                  </a:lnTo>
                  <a:lnTo>
                    <a:pt x="324" y="673"/>
                  </a:lnTo>
                  <a:lnTo>
                    <a:pt x="330" y="673"/>
                  </a:lnTo>
                  <a:lnTo>
                    <a:pt x="335" y="670"/>
                  </a:lnTo>
                  <a:lnTo>
                    <a:pt x="345" y="675"/>
                  </a:lnTo>
                  <a:lnTo>
                    <a:pt x="348" y="681"/>
                  </a:lnTo>
                  <a:lnTo>
                    <a:pt x="352" y="681"/>
                  </a:lnTo>
                  <a:lnTo>
                    <a:pt x="351" y="704"/>
                  </a:lnTo>
                  <a:lnTo>
                    <a:pt x="333" y="718"/>
                  </a:lnTo>
                  <a:lnTo>
                    <a:pt x="314" y="725"/>
                  </a:lnTo>
                  <a:lnTo>
                    <a:pt x="287" y="720"/>
                  </a:lnTo>
                  <a:lnTo>
                    <a:pt x="284" y="736"/>
                  </a:lnTo>
                  <a:lnTo>
                    <a:pt x="277" y="750"/>
                  </a:lnTo>
                  <a:lnTo>
                    <a:pt x="266" y="747"/>
                  </a:lnTo>
                  <a:lnTo>
                    <a:pt x="255" y="758"/>
                  </a:lnTo>
                  <a:lnTo>
                    <a:pt x="250" y="745"/>
                  </a:lnTo>
                  <a:lnTo>
                    <a:pt x="260" y="728"/>
                  </a:lnTo>
                  <a:lnTo>
                    <a:pt x="260" y="721"/>
                  </a:lnTo>
                  <a:lnTo>
                    <a:pt x="246" y="704"/>
                  </a:lnTo>
                  <a:lnTo>
                    <a:pt x="242" y="688"/>
                  </a:lnTo>
                  <a:lnTo>
                    <a:pt x="242" y="662"/>
                  </a:lnTo>
                  <a:lnTo>
                    <a:pt x="246" y="657"/>
                  </a:lnTo>
                  <a:lnTo>
                    <a:pt x="252" y="653"/>
                  </a:lnTo>
                  <a:lnTo>
                    <a:pt x="271" y="643"/>
                  </a:lnTo>
                  <a:lnTo>
                    <a:pt x="289" y="624"/>
                  </a:lnTo>
                  <a:lnTo>
                    <a:pt x="297" y="589"/>
                  </a:lnTo>
                  <a:lnTo>
                    <a:pt x="295" y="583"/>
                  </a:lnTo>
                  <a:lnTo>
                    <a:pt x="298" y="573"/>
                  </a:lnTo>
                  <a:lnTo>
                    <a:pt x="290" y="554"/>
                  </a:lnTo>
                  <a:lnTo>
                    <a:pt x="266" y="565"/>
                  </a:lnTo>
                  <a:lnTo>
                    <a:pt x="228" y="570"/>
                  </a:lnTo>
                  <a:lnTo>
                    <a:pt x="198" y="557"/>
                  </a:lnTo>
                  <a:lnTo>
                    <a:pt x="177" y="541"/>
                  </a:lnTo>
                  <a:lnTo>
                    <a:pt x="153" y="539"/>
                  </a:lnTo>
                  <a:lnTo>
                    <a:pt x="131" y="544"/>
                  </a:lnTo>
                  <a:lnTo>
                    <a:pt x="118" y="541"/>
                  </a:lnTo>
                  <a:lnTo>
                    <a:pt x="83" y="517"/>
                  </a:lnTo>
                  <a:lnTo>
                    <a:pt x="81" y="509"/>
                  </a:lnTo>
                  <a:lnTo>
                    <a:pt x="78" y="509"/>
                  </a:lnTo>
                  <a:lnTo>
                    <a:pt x="75" y="506"/>
                  </a:lnTo>
                  <a:lnTo>
                    <a:pt x="70" y="511"/>
                  </a:lnTo>
                  <a:lnTo>
                    <a:pt x="56" y="511"/>
                  </a:lnTo>
                  <a:lnTo>
                    <a:pt x="8" y="439"/>
                  </a:lnTo>
                  <a:lnTo>
                    <a:pt x="0" y="434"/>
                  </a:lnTo>
                  <a:lnTo>
                    <a:pt x="6" y="436"/>
                  </a:lnTo>
                  <a:lnTo>
                    <a:pt x="13" y="412"/>
                  </a:lnTo>
                  <a:lnTo>
                    <a:pt x="29" y="382"/>
                  </a:lnTo>
                  <a:lnTo>
                    <a:pt x="54" y="361"/>
                  </a:lnTo>
                  <a:lnTo>
                    <a:pt x="51" y="348"/>
                  </a:lnTo>
                  <a:lnTo>
                    <a:pt x="41" y="342"/>
                  </a:lnTo>
                  <a:lnTo>
                    <a:pt x="40" y="326"/>
                  </a:lnTo>
                  <a:lnTo>
                    <a:pt x="40" y="321"/>
                  </a:lnTo>
                  <a:lnTo>
                    <a:pt x="52" y="308"/>
                  </a:lnTo>
                  <a:lnTo>
                    <a:pt x="43" y="268"/>
                  </a:lnTo>
                  <a:lnTo>
                    <a:pt x="44" y="251"/>
                  </a:lnTo>
                  <a:lnTo>
                    <a:pt x="48" y="238"/>
                  </a:lnTo>
                  <a:lnTo>
                    <a:pt x="46" y="203"/>
                  </a:lnTo>
                  <a:lnTo>
                    <a:pt x="48" y="177"/>
                  </a:lnTo>
                  <a:lnTo>
                    <a:pt x="108" y="126"/>
                  </a:lnTo>
                  <a:lnTo>
                    <a:pt x="135" y="91"/>
                  </a:lnTo>
                  <a:lnTo>
                    <a:pt x="143" y="75"/>
                  </a:lnTo>
                  <a:lnTo>
                    <a:pt x="150" y="67"/>
                  </a:lnTo>
                  <a:lnTo>
                    <a:pt x="155" y="54"/>
                  </a:lnTo>
                  <a:lnTo>
                    <a:pt x="161" y="26"/>
                  </a:lnTo>
                  <a:lnTo>
                    <a:pt x="161" y="0"/>
                  </a:lnTo>
                  <a:lnTo>
                    <a:pt x="177" y="7"/>
                  </a:lnTo>
                  <a:lnTo>
                    <a:pt x="204" y="5"/>
                  </a:lnTo>
                  <a:lnTo>
                    <a:pt x="217" y="15"/>
                  </a:lnTo>
                  <a:lnTo>
                    <a:pt x="277" y="46"/>
                  </a:lnTo>
                  <a:lnTo>
                    <a:pt x="305" y="21"/>
                  </a:lnTo>
                  <a:lnTo>
                    <a:pt x="316" y="26"/>
                  </a:lnTo>
                  <a:lnTo>
                    <a:pt x="303" y="80"/>
                  </a:lnTo>
                  <a:lnTo>
                    <a:pt x="317" y="102"/>
                  </a:lnTo>
                  <a:lnTo>
                    <a:pt x="316" y="153"/>
                  </a:lnTo>
                  <a:lnTo>
                    <a:pt x="317" y="161"/>
                  </a:lnTo>
                  <a:lnTo>
                    <a:pt x="317" y="204"/>
                  </a:lnTo>
                  <a:lnTo>
                    <a:pt x="306" y="209"/>
                  </a:lnTo>
                  <a:lnTo>
                    <a:pt x="298" y="201"/>
                  </a:lnTo>
                  <a:lnTo>
                    <a:pt x="277" y="208"/>
                  </a:lnTo>
                  <a:lnTo>
                    <a:pt x="265" y="220"/>
                  </a:lnTo>
                  <a:lnTo>
                    <a:pt x="265" y="29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/>
            <a:lstStyle/>
            <a:p>
              <a:pPr algn="ctr"/>
              <a:endParaRPr lang="en-US" sz="800" dirty="0"/>
            </a:p>
          </p:txBody>
        </p:sp>
        <p:sp>
          <p:nvSpPr>
            <p:cNvPr id="8" name="Freeform 192">
              <a:extLst>
                <a:ext uri="{FF2B5EF4-FFF2-40B4-BE49-F238E27FC236}">
                  <a16:creationId xmlns:a16="http://schemas.microsoft.com/office/drawing/2014/main" id="{2D318791-FFEF-4A3D-B761-38125FD6919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3788" y="4918075"/>
              <a:ext cx="611187" cy="690562"/>
            </a:xfrm>
            <a:custGeom>
              <a:avLst/>
              <a:gdLst>
                <a:gd name="T0" fmla="*/ 374 w 385"/>
                <a:gd name="T1" fmla="*/ 55 h 435"/>
                <a:gd name="T2" fmla="*/ 378 w 385"/>
                <a:gd name="T3" fmla="*/ 73 h 435"/>
                <a:gd name="T4" fmla="*/ 378 w 385"/>
                <a:gd name="T5" fmla="*/ 97 h 435"/>
                <a:gd name="T6" fmla="*/ 356 w 385"/>
                <a:gd name="T7" fmla="*/ 119 h 435"/>
                <a:gd name="T8" fmla="*/ 353 w 385"/>
                <a:gd name="T9" fmla="*/ 140 h 435"/>
                <a:gd name="T10" fmla="*/ 337 w 385"/>
                <a:gd name="T11" fmla="*/ 162 h 435"/>
                <a:gd name="T12" fmla="*/ 332 w 385"/>
                <a:gd name="T13" fmla="*/ 197 h 435"/>
                <a:gd name="T14" fmla="*/ 335 w 385"/>
                <a:gd name="T15" fmla="*/ 221 h 435"/>
                <a:gd name="T16" fmla="*/ 315 w 385"/>
                <a:gd name="T17" fmla="*/ 237 h 435"/>
                <a:gd name="T18" fmla="*/ 294 w 385"/>
                <a:gd name="T19" fmla="*/ 236 h 435"/>
                <a:gd name="T20" fmla="*/ 273 w 385"/>
                <a:gd name="T21" fmla="*/ 225 h 435"/>
                <a:gd name="T22" fmla="*/ 280 w 385"/>
                <a:gd name="T23" fmla="*/ 217 h 435"/>
                <a:gd name="T24" fmla="*/ 232 w 385"/>
                <a:gd name="T25" fmla="*/ 199 h 435"/>
                <a:gd name="T26" fmla="*/ 174 w 385"/>
                <a:gd name="T27" fmla="*/ 252 h 435"/>
                <a:gd name="T28" fmla="*/ 174 w 385"/>
                <a:gd name="T29" fmla="*/ 266 h 435"/>
                <a:gd name="T30" fmla="*/ 182 w 385"/>
                <a:gd name="T31" fmla="*/ 296 h 435"/>
                <a:gd name="T32" fmla="*/ 163 w 385"/>
                <a:gd name="T33" fmla="*/ 325 h 435"/>
                <a:gd name="T34" fmla="*/ 153 w 385"/>
                <a:gd name="T35" fmla="*/ 336 h 435"/>
                <a:gd name="T36" fmla="*/ 163 w 385"/>
                <a:gd name="T37" fmla="*/ 362 h 435"/>
                <a:gd name="T38" fmla="*/ 174 w 385"/>
                <a:gd name="T39" fmla="*/ 365 h 435"/>
                <a:gd name="T40" fmla="*/ 173 w 385"/>
                <a:gd name="T41" fmla="*/ 394 h 435"/>
                <a:gd name="T42" fmla="*/ 169 w 385"/>
                <a:gd name="T43" fmla="*/ 408 h 435"/>
                <a:gd name="T44" fmla="*/ 168 w 385"/>
                <a:gd name="T45" fmla="*/ 426 h 435"/>
                <a:gd name="T46" fmla="*/ 161 w 385"/>
                <a:gd name="T47" fmla="*/ 435 h 435"/>
                <a:gd name="T48" fmla="*/ 137 w 385"/>
                <a:gd name="T49" fmla="*/ 434 h 435"/>
                <a:gd name="T50" fmla="*/ 29 w 385"/>
                <a:gd name="T51" fmla="*/ 322 h 435"/>
                <a:gd name="T52" fmla="*/ 70 w 385"/>
                <a:gd name="T53" fmla="*/ 344 h 435"/>
                <a:gd name="T54" fmla="*/ 80 w 385"/>
                <a:gd name="T55" fmla="*/ 347 h 435"/>
                <a:gd name="T56" fmla="*/ 61 w 385"/>
                <a:gd name="T57" fmla="*/ 333 h 435"/>
                <a:gd name="T58" fmla="*/ 48 w 385"/>
                <a:gd name="T59" fmla="*/ 293 h 435"/>
                <a:gd name="T60" fmla="*/ 47 w 385"/>
                <a:gd name="T61" fmla="*/ 258 h 435"/>
                <a:gd name="T62" fmla="*/ 19 w 385"/>
                <a:gd name="T63" fmla="*/ 280 h 435"/>
                <a:gd name="T64" fmla="*/ 0 w 385"/>
                <a:gd name="T65" fmla="*/ 258 h 435"/>
                <a:gd name="T66" fmla="*/ 11 w 385"/>
                <a:gd name="T67" fmla="*/ 232 h 435"/>
                <a:gd name="T68" fmla="*/ 24 w 385"/>
                <a:gd name="T69" fmla="*/ 228 h 435"/>
                <a:gd name="T70" fmla="*/ 42 w 385"/>
                <a:gd name="T71" fmla="*/ 217 h 435"/>
                <a:gd name="T72" fmla="*/ 43 w 385"/>
                <a:gd name="T73" fmla="*/ 178 h 435"/>
                <a:gd name="T74" fmla="*/ 64 w 385"/>
                <a:gd name="T75" fmla="*/ 146 h 435"/>
                <a:gd name="T76" fmla="*/ 69 w 385"/>
                <a:gd name="T77" fmla="*/ 145 h 435"/>
                <a:gd name="T78" fmla="*/ 80 w 385"/>
                <a:gd name="T79" fmla="*/ 137 h 435"/>
                <a:gd name="T80" fmla="*/ 88 w 385"/>
                <a:gd name="T81" fmla="*/ 122 h 435"/>
                <a:gd name="T82" fmla="*/ 139 w 385"/>
                <a:gd name="T83" fmla="*/ 102 h 435"/>
                <a:gd name="T84" fmla="*/ 165 w 385"/>
                <a:gd name="T85" fmla="*/ 132 h 435"/>
                <a:gd name="T86" fmla="*/ 214 w 385"/>
                <a:gd name="T87" fmla="*/ 87 h 435"/>
                <a:gd name="T88" fmla="*/ 235 w 385"/>
                <a:gd name="T89" fmla="*/ 122 h 435"/>
                <a:gd name="T90" fmla="*/ 315 w 385"/>
                <a:gd name="T91" fmla="*/ 36 h 435"/>
                <a:gd name="T92" fmla="*/ 361 w 385"/>
                <a:gd name="T93" fmla="*/ 4 h 435"/>
                <a:gd name="T94" fmla="*/ 385 w 385"/>
                <a:gd name="T95" fmla="*/ 51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85" h="435">
                  <a:moveTo>
                    <a:pt x="385" y="51"/>
                  </a:moveTo>
                  <a:lnTo>
                    <a:pt x="380" y="52"/>
                  </a:lnTo>
                  <a:lnTo>
                    <a:pt x="382" y="55"/>
                  </a:lnTo>
                  <a:lnTo>
                    <a:pt x="374" y="55"/>
                  </a:lnTo>
                  <a:lnTo>
                    <a:pt x="369" y="57"/>
                  </a:lnTo>
                  <a:lnTo>
                    <a:pt x="367" y="65"/>
                  </a:lnTo>
                  <a:lnTo>
                    <a:pt x="372" y="71"/>
                  </a:lnTo>
                  <a:lnTo>
                    <a:pt x="378" y="73"/>
                  </a:lnTo>
                  <a:lnTo>
                    <a:pt x="374" y="83"/>
                  </a:lnTo>
                  <a:lnTo>
                    <a:pt x="377" y="86"/>
                  </a:lnTo>
                  <a:lnTo>
                    <a:pt x="375" y="89"/>
                  </a:lnTo>
                  <a:lnTo>
                    <a:pt x="378" y="97"/>
                  </a:lnTo>
                  <a:lnTo>
                    <a:pt x="377" y="98"/>
                  </a:lnTo>
                  <a:lnTo>
                    <a:pt x="362" y="102"/>
                  </a:lnTo>
                  <a:lnTo>
                    <a:pt x="364" y="110"/>
                  </a:lnTo>
                  <a:lnTo>
                    <a:pt x="356" y="119"/>
                  </a:lnTo>
                  <a:lnTo>
                    <a:pt x="359" y="129"/>
                  </a:lnTo>
                  <a:lnTo>
                    <a:pt x="353" y="135"/>
                  </a:lnTo>
                  <a:lnTo>
                    <a:pt x="356" y="137"/>
                  </a:lnTo>
                  <a:lnTo>
                    <a:pt x="353" y="140"/>
                  </a:lnTo>
                  <a:lnTo>
                    <a:pt x="348" y="150"/>
                  </a:lnTo>
                  <a:lnTo>
                    <a:pt x="343" y="153"/>
                  </a:lnTo>
                  <a:lnTo>
                    <a:pt x="347" y="158"/>
                  </a:lnTo>
                  <a:lnTo>
                    <a:pt x="337" y="162"/>
                  </a:lnTo>
                  <a:lnTo>
                    <a:pt x="332" y="175"/>
                  </a:lnTo>
                  <a:lnTo>
                    <a:pt x="332" y="188"/>
                  </a:lnTo>
                  <a:lnTo>
                    <a:pt x="337" y="196"/>
                  </a:lnTo>
                  <a:lnTo>
                    <a:pt x="332" y="197"/>
                  </a:lnTo>
                  <a:lnTo>
                    <a:pt x="334" y="199"/>
                  </a:lnTo>
                  <a:lnTo>
                    <a:pt x="335" y="207"/>
                  </a:lnTo>
                  <a:lnTo>
                    <a:pt x="334" y="212"/>
                  </a:lnTo>
                  <a:lnTo>
                    <a:pt x="335" y="221"/>
                  </a:lnTo>
                  <a:lnTo>
                    <a:pt x="332" y="221"/>
                  </a:lnTo>
                  <a:lnTo>
                    <a:pt x="331" y="226"/>
                  </a:lnTo>
                  <a:lnTo>
                    <a:pt x="323" y="226"/>
                  </a:lnTo>
                  <a:lnTo>
                    <a:pt x="315" y="237"/>
                  </a:lnTo>
                  <a:lnTo>
                    <a:pt x="305" y="236"/>
                  </a:lnTo>
                  <a:lnTo>
                    <a:pt x="300" y="229"/>
                  </a:lnTo>
                  <a:lnTo>
                    <a:pt x="295" y="229"/>
                  </a:lnTo>
                  <a:lnTo>
                    <a:pt x="294" y="236"/>
                  </a:lnTo>
                  <a:lnTo>
                    <a:pt x="289" y="236"/>
                  </a:lnTo>
                  <a:lnTo>
                    <a:pt x="281" y="245"/>
                  </a:lnTo>
                  <a:lnTo>
                    <a:pt x="281" y="236"/>
                  </a:lnTo>
                  <a:lnTo>
                    <a:pt x="273" y="225"/>
                  </a:lnTo>
                  <a:lnTo>
                    <a:pt x="273" y="221"/>
                  </a:lnTo>
                  <a:lnTo>
                    <a:pt x="272" y="221"/>
                  </a:lnTo>
                  <a:lnTo>
                    <a:pt x="276" y="215"/>
                  </a:lnTo>
                  <a:lnTo>
                    <a:pt x="280" y="217"/>
                  </a:lnTo>
                  <a:lnTo>
                    <a:pt x="281" y="209"/>
                  </a:lnTo>
                  <a:lnTo>
                    <a:pt x="280" y="205"/>
                  </a:lnTo>
                  <a:lnTo>
                    <a:pt x="246" y="199"/>
                  </a:lnTo>
                  <a:lnTo>
                    <a:pt x="232" y="199"/>
                  </a:lnTo>
                  <a:lnTo>
                    <a:pt x="203" y="205"/>
                  </a:lnTo>
                  <a:lnTo>
                    <a:pt x="192" y="225"/>
                  </a:lnTo>
                  <a:lnTo>
                    <a:pt x="177" y="240"/>
                  </a:lnTo>
                  <a:lnTo>
                    <a:pt x="174" y="252"/>
                  </a:lnTo>
                  <a:lnTo>
                    <a:pt x="176" y="256"/>
                  </a:lnTo>
                  <a:lnTo>
                    <a:pt x="171" y="258"/>
                  </a:lnTo>
                  <a:lnTo>
                    <a:pt x="176" y="263"/>
                  </a:lnTo>
                  <a:lnTo>
                    <a:pt x="174" y="266"/>
                  </a:lnTo>
                  <a:lnTo>
                    <a:pt x="176" y="276"/>
                  </a:lnTo>
                  <a:lnTo>
                    <a:pt x="179" y="282"/>
                  </a:lnTo>
                  <a:lnTo>
                    <a:pt x="184" y="285"/>
                  </a:lnTo>
                  <a:lnTo>
                    <a:pt x="182" y="296"/>
                  </a:lnTo>
                  <a:lnTo>
                    <a:pt x="169" y="309"/>
                  </a:lnTo>
                  <a:lnTo>
                    <a:pt x="171" y="317"/>
                  </a:lnTo>
                  <a:lnTo>
                    <a:pt x="169" y="320"/>
                  </a:lnTo>
                  <a:lnTo>
                    <a:pt x="163" y="325"/>
                  </a:lnTo>
                  <a:lnTo>
                    <a:pt x="157" y="323"/>
                  </a:lnTo>
                  <a:lnTo>
                    <a:pt x="157" y="328"/>
                  </a:lnTo>
                  <a:lnTo>
                    <a:pt x="152" y="328"/>
                  </a:lnTo>
                  <a:lnTo>
                    <a:pt x="153" y="336"/>
                  </a:lnTo>
                  <a:lnTo>
                    <a:pt x="149" y="343"/>
                  </a:lnTo>
                  <a:lnTo>
                    <a:pt x="157" y="355"/>
                  </a:lnTo>
                  <a:lnTo>
                    <a:pt x="161" y="357"/>
                  </a:lnTo>
                  <a:lnTo>
                    <a:pt x="163" y="362"/>
                  </a:lnTo>
                  <a:lnTo>
                    <a:pt x="165" y="362"/>
                  </a:lnTo>
                  <a:lnTo>
                    <a:pt x="166" y="367"/>
                  </a:lnTo>
                  <a:lnTo>
                    <a:pt x="171" y="367"/>
                  </a:lnTo>
                  <a:lnTo>
                    <a:pt x="174" y="365"/>
                  </a:lnTo>
                  <a:lnTo>
                    <a:pt x="177" y="370"/>
                  </a:lnTo>
                  <a:lnTo>
                    <a:pt x="177" y="382"/>
                  </a:lnTo>
                  <a:lnTo>
                    <a:pt x="173" y="384"/>
                  </a:lnTo>
                  <a:lnTo>
                    <a:pt x="173" y="394"/>
                  </a:lnTo>
                  <a:lnTo>
                    <a:pt x="168" y="398"/>
                  </a:lnTo>
                  <a:lnTo>
                    <a:pt x="171" y="403"/>
                  </a:lnTo>
                  <a:lnTo>
                    <a:pt x="169" y="405"/>
                  </a:lnTo>
                  <a:lnTo>
                    <a:pt x="169" y="408"/>
                  </a:lnTo>
                  <a:lnTo>
                    <a:pt x="173" y="410"/>
                  </a:lnTo>
                  <a:lnTo>
                    <a:pt x="169" y="413"/>
                  </a:lnTo>
                  <a:lnTo>
                    <a:pt x="169" y="424"/>
                  </a:lnTo>
                  <a:lnTo>
                    <a:pt x="168" y="426"/>
                  </a:lnTo>
                  <a:lnTo>
                    <a:pt x="171" y="427"/>
                  </a:lnTo>
                  <a:lnTo>
                    <a:pt x="168" y="427"/>
                  </a:lnTo>
                  <a:lnTo>
                    <a:pt x="169" y="434"/>
                  </a:lnTo>
                  <a:lnTo>
                    <a:pt x="161" y="435"/>
                  </a:lnTo>
                  <a:lnTo>
                    <a:pt x="158" y="427"/>
                  </a:lnTo>
                  <a:lnTo>
                    <a:pt x="157" y="427"/>
                  </a:lnTo>
                  <a:lnTo>
                    <a:pt x="149" y="434"/>
                  </a:lnTo>
                  <a:lnTo>
                    <a:pt x="137" y="434"/>
                  </a:lnTo>
                  <a:lnTo>
                    <a:pt x="94" y="389"/>
                  </a:lnTo>
                  <a:lnTo>
                    <a:pt x="58" y="357"/>
                  </a:lnTo>
                  <a:lnTo>
                    <a:pt x="34" y="341"/>
                  </a:lnTo>
                  <a:lnTo>
                    <a:pt x="29" y="322"/>
                  </a:lnTo>
                  <a:lnTo>
                    <a:pt x="56" y="328"/>
                  </a:lnTo>
                  <a:lnTo>
                    <a:pt x="59" y="333"/>
                  </a:lnTo>
                  <a:lnTo>
                    <a:pt x="66" y="335"/>
                  </a:lnTo>
                  <a:lnTo>
                    <a:pt x="70" y="344"/>
                  </a:lnTo>
                  <a:lnTo>
                    <a:pt x="74" y="343"/>
                  </a:lnTo>
                  <a:lnTo>
                    <a:pt x="80" y="347"/>
                  </a:lnTo>
                  <a:lnTo>
                    <a:pt x="85" y="347"/>
                  </a:lnTo>
                  <a:lnTo>
                    <a:pt x="80" y="347"/>
                  </a:lnTo>
                  <a:lnTo>
                    <a:pt x="75" y="343"/>
                  </a:lnTo>
                  <a:lnTo>
                    <a:pt x="70" y="344"/>
                  </a:lnTo>
                  <a:lnTo>
                    <a:pt x="66" y="335"/>
                  </a:lnTo>
                  <a:lnTo>
                    <a:pt x="61" y="333"/>
                  </a:lnTo>
                  <a:lnTo>
                    <a:pt x="54" y="328"/>
                  </a:lnTo>
                  <a:lnTo>
                    <a:pt x="29" y="320"/>
                  </a:lnTo>
                  <a:lnTo>
                    <a:pt x="32" y="312"/>
                  </a:lnTo>
                  <a:lnTo>
                    <a:pt x="48" y="293"/>
                  </a:lnTo>
                  <a:lnTo>
                    <a:pt x="47" y="277"/>
                  </a:lnTo>
                  <a:lnTo>
                    <a:pt x="51" y="261"/>
                  </a:lnTo>
                  <a:lnTo>
                    <a:pt x="50" y="258"/>
                  </a:lnTo>
                  <a:lnTo>
                    <a:pt x="47" y="258"/>
                  </a:lnTo>
                  <a:lnTo>
                    <a:pt x="34" y="268"/>
                  </a:lnTo>
                  <a:lnTo>
                    <a:pt x="34" y="282"/>
                  </a:lnTo>
                  <a:lnTo>
                    <a:pt x="29" y="287"/>
                  </a:lnTo>
                  <a:lnTo>
                    <a:pt x="19" y="280"/>
                  </a:lnTo>
                  <a:lnTo>
                    <a:pt x="7" y="280"/>
                  </a:lnTo>
                  <a:lnTo>
                    <a:pt x="2" y="276"/>
                  </a:lnTo>
                  <a:lnTo>
                    <a:pt x="2" y="260"/>
                  </a:lnTo>
                  <a:lnTo>
                    <a:pt x="0" y="258"/>
                  </a:lnTo>
                  <a:lnTo>
                    <a:pt x="3" y="255"/>
                  </a:lnTo>
                  <a:lnTo>
                    <a:pt x="2" y="244"/>
                  </a:lnTo>
                  <a:lnTo>
                    <a:pt x="8" y="239"/>
                  </a:lnTo>
                  <a:lnTo>
                    <a:pt x="11" y="232"/>
                  </a:lnTo>
                  <a:lnTo>
                    <a:pt x="19" y="231"/>
                  </a:lnTo>
                  <a:lnTo>
                    <a:pt x="18" y="229"/>
                  </a:lnTo>
                  <a:lnTo>
                    <a:pt x="21" y="228"/>
                  </a:lnTo>
                  <a:lnTo>
                    <a:pt x="24" y="228"/>
                  </a:lnTo>
                  <a:lnTo>
                    <a:pt x="24" y="223"/>
                  </a:lnTo>
                  <a:lnTo>
                    <a:pt x="26" y="225"/>
                  </a:lnTo>
                  <a:lnTo>
                    <a:pt x="27" y="221"/>
                  </a:lnTo>
                  <a:lnTo>
                    <a:pt x="42" y="217"/>
                  </a:lnTo>
                  <a:lnTo>
                    <a:pt x="40" y="212"/>
                  </a:lnTo>
                  <a:lnTo>
                    <a:pt x="45" y="204"/>
                  </a:lnTo>
                  <a:lnTo>
                    <a:pt x="42" y="196"/>
                  </a:lnTo>
                  <a:lnTo>
                    <a:pt x="43" y="178"/>
                  </a:lnTo>
                  <a:lnTo>
                    <a:pt x="56" y="172"/>
                  </a:lnTo>
                  <a:lnTo>
                    <a:pt x="56" y="154"/>
                  </a:lnTo>
                  <a:lnTo>
                    <a:pt x="62" y="153"/>
                  </a:lnTo>
                  <a:lnTo>
                    <a:pt x="64" y="146"/>
                  </a:lnTo>
                  <a:lnTo>
                    <a:pt x="66" y="150"/>
                  </a:lnTo>
                  <a:lnTo>
                    <a:pt x="67" y="148"/>
                  </a:lnTo>
                  <a:lnTo>
                    <a:pt x="66" y="143"/>
                  </a:lnTo>
                  <a:lnTo>
                    <a:pt x="69" y="145"/>
                  </a:lnTo>
                  <a:lnTo>
                    <a:pt x="69" y="140"/>
                  </a:lnTo>
                  <a:lnTo>
                    <a:pt x="75" y="142"/>
                  </a:lnTo>
                  <a:lnTo>
                    <a:pt x="75" y="138"/>
                  </a:lnTo>
                  <a:lnTo>
                    <a:pt x="80" y="137"/>
                  </a:lnTo>
                  <a:lnTo>
                    <a:pt x="80" y="134"/>
                  </a:lnTo>
                  <a:lnTo>
                    <a:pt x="85" y="127"/>
                  </a:lnTo>
                  <a:lnTo>
                    <a:pt x="88" y="127"/>
                  </a:lnTo>
                  <a:lnTo>
                    <a:pt x="88" y="122"/>
                  </a:lnTo>
                  <a:lnTo>
                    <a:pt x="102" y="121"/>
                  </a:lnTo>
                  <a:lnTo>
                    <a:pt x="117" y="114"/>
                  </a:lnTo>
                  <a:lnTo>
                    <a:pt x="114" y="100"/>
                  </a:lnTo>
                  <a:lnTo>
                    <a:pt x="139" y="102"/>
                  </a:lnTo>
                  <a:lnTo>
                    <a:pt x="142" y="124"/>
                  </a:lnTo>
                  <a:lnTo>
                    <a:pt x="150" y="143"/>
                  </a:lnTo>
                  <a:lnTo>
                    <a:pt x="161" y="143"/>
                  </a:lnTo>
                  <a:lnTo>
                    <a:pt x="165" y="132"/>
                  </a:lnTo>
                  <a:lnTo>
                    <a:pt x="163" y="116"/>
                  </a:lnTo>
                  <a:lnTo>
                    <a:pt x="165" y="110"/>
                  </a:lnTo>
                  <a:lnTo>
                    <a:pt x="198" y="89"/>
                  </a:lnTo>
                  <a:lnTo>
                    <a:pt x="214" y="87"/>
                  </a:lnTo>
                  <a:lnTo>
                    <a:pt x="219" y="97"/>
                  </a:lnTo>
                  <a:lnTo>
                    <a:pt x="222" y="113"/>
                  </a:lnTo>
                  <a:lnTo>
                    <a:pt x="227" y="119"/>
                  </a:lnTo>
                  <a:lnTo>
                    <a:pt x="235" y="122"/>
                  </a:lnTo>
                  <a:lnTo>
                    <a:pt x="246" y="121"/>
                  </a:lnTo>
                  <a:lnTo>
                    <a:pt x="267" y="105"/>
                  </a:lnTo>
                  <a:lnTo>
                    <a:pt x="302" y="60"/>
                  </a:lnTo>
                  <a:lnTo>
                    <a:pt x="315" y="36"/>
                  </a:lnTo>
                  <a:lnTo>
                    <a:pt x="331" y="20"/>
                  </a:lnTo>
                  <a:lnTo>
                    <a:pt x="335" y="3"/>
                  </a:lnTo>
                  <a:lnTo>
                    <a:pt x="339" y="0"/>
                  </a:lnTo>
                  <a:lnTo>
                    <a:pt x="361" y="4"/>
                  </a:lnTo>
                  <a:lnTo>
                    <a:pt x="366" y="14"/>
                  </a:lnTo>
                  <a:lnTo>
                    <a:pt x="370" y="43"/>
                  </a:lnTo>
                  <a:lnTo>
                    <a:pt x="382" y="46"/>
                  </a:lnTo>
                  <a:lnTo>
                    <a:pt x="385" y="5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/>
            <a:lstStyle/>
            <a:p>
              <a:pPr algn="ctr"/>
              <a:endParaRPr lang="en-US" sz="800" dirty="0"/>
            </a:p>
          </p:txBody>
        </p:sp>
        <p:sp>
          <p:nvSpPr>
            <p:cNvPr id="9" name="Freeform 193">
              <a:extLst>
                <a:ext uri="{FF2B5EF4-FFF2-40B4-BE49-F238E27FC236}">
                  <a16:creationId xmlns:a16="http://schemas.microsoft.com/office/drawing/2014/main" id="{8444F499-81C9-4454-ACB7-96D48955E6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4225" y="4327525"/>
              <a:ext cx="998537" cy="587375"/>
            </a:xfrm>
            <a:custGeom>
              <a:avLst/>
              <a:gdLst>
                <a:gd name="T0" fmla="*/ 418 w 629"/>
                <a:gd name="T1" fmla="*/ 45 h 370"/>
                <a:gd name="T2" fmla="*/ 413 w 629"/>
                <a:gd name="T3" fmla="*/ 56 h 370"/>
                <a:gd name="T4" fmla="*/ 423 w 629"/>
                <a:gd name="T5" fmla="*/ 65 h 370"/>
                <a:gd name="T6" fmla="*/ 442 w 629"/>
                <a:gd name="T7" fmla="*/ 80 h 370"/>
                <a:gd name="T8" fmla="*/ 487 w 629"/>
                <a:gd name="T9" fmla="*/ 84 h 370"/>
                <a:gd name="T10" fmla="*/ 488 w 629"/>
                <a:gd name="T11" fmla="*/ 104 h 370"/>
                <a:gd name="T12" fmla="*/ 469 w 629"/>
                <a:gd name="T13" fmla="*/ 147 h 370"/>
                <a:gd name="T14" fmla="*/ 472 w 629"/>
                <a:gd name="T15" fmla="*/ 193 h 370"/>
                <a:gd name="T16" fmla="*/ 527 w 629"/>
                <a:gd name="T17" fmla="*/ 215 h 370"/>
                <a:gd name="T18" fmla="*/ 583 w 629"/>
                <a:gd name="T19" fmla="*/ 225 h 370"/>
                <a:gd name="T20" fmla="*/ 619 w 629"/>
                <a:gd name="T21" fmla="*/ 263 h 370"/>
                <a:gd name="T22" fmla="*/ 589 w 629"/>
                <a:gd name="T23" fmla="*/ 257 h 370"/>
                <a:gd name="T24" fmla="*/ 547 w 629"/>
                <a:gd name="T25" fmla="*/ 242 h 370"/>
                <a:gd name="T26" fmla="*/ 557 w 629"/>
                <a:gd name="T27" fmla="*/ 254 h 370"/>
                <a:gd name="T28" fmla="*/ 563 w 629"/>
                <a:gd name="T29" fmla="*/ 252 h 370"/>
                <a:gd name="T30" fmla="*/ 568 w 629"/>
                <a:gd name="T31" fmla="*/ 258 h 370"/>
                <a:gd name="T32" fmla="*/ 571 w 629"/>
                <a:gd name="T33" fmla="*/ 268 h 370"/>
                <a:gd name="T34" fmla="*/ 573 w 629"/>
                <a:gd name="T35" fmla="*/ 274 h 370"/>
                <a:gd name="T36" fmla="*/ 571 w 629"/>
                <a:gd name="T37" fmla="*/ 282 h 370"/>
                <a:gd name="T38" fmla="*/ 576 w 629"/>
                <a:gd name="T39" fmla="*/ 313 h 370"/>
                <a:gd name="T40" fmla="*/ 477 w 629"/>
                <a:gd name="T41" fmla="*/ 306 h 370"/>
                <a:gd name="T42" fmla="*/ 381 w 629"/>
                <a:gd name="T43" fmla="*/ 276 h 370"/>
                <a:gd name="T44" fmla="*/ 338 w 629"/>
                <a:gd name="T45" fmla="*/ 321 h 370"/>
                <a:gd name="T46" fmla="*/ 338 w 629"/>
                <a:gd name="T47" fmla="*/ 368 h 370"/>
                <a:gd name="T48" fmla="*/ 314 w 629"/>
                <a:gd name="T49" fmla="*/ 357 h 370"/>
                <a:gd name="T50" fmla="*/ 297 w 629"/>
                <a:gd name="T51" fmla="*/ 346 h 370"/>
                <a:gd name="T52" fmla="*/ 276 w 629"/>
                <a:gd name="T53" fmla="*/ 340 h 370"/>
                <a:gd name="T54" fmla="*/ 228 w 629"/>
                <a:gd name="T55" fmla="*/ 317 h 370"/>
                <a:gd name="T56" fmla="*/ 180 w 629"/>
                <a:gd name="T57" fmla="*/ 313 h 370"/>
                <a:gd name="T58" fmla="*/ 126 w 629"/>
                <a:gd name="T59" fmla="*/ 301 h 370"/>
                <a:gd name="T60" fmla="*/ 91 w 629"/>
                <a:gd name="T61" fmla="*/ 305 h 370"/>
                <a:gd name="T62" fmla="*/ 40 w 629"/>
                <a:gd name="T63" fmla="*/ 324 h 370"/>
                <a:gd name="T64" fmla="*/ 14 w 629"/>
                <a:gd name="T65" fmla="*/ 332 h 370"/>
                <a:gd name="T66" fmla="*/ 2 w 629"/>
                <a:gd name="T67" fmla="*/ 321 h 370"/>
                <a:gd name="T68" fmla="*/ 5 w 629"/>
                <a:gd name="T69" fmla="*/ 313 h 370"/>
                <a:gd name="T70" fmla="*/ 5 w 629"/>
                <a:gd name="T71" fmla="*/ 285 h 370"/>
                <a:gd name="T72" fmla="*/ 8 w 629"/>
                <a:gd name="T73" fmla="*/ 215 h 370"/>
                <a:gd name="T74" fmla="*/ 109 w 629"/>
                <a:gd name="T75" fmla="*/ 175 h 370"/>
                <a:gd name="T76" fmla="*/ 145 w 629"/>
                <a:gd name="T77" fmla="*/ 89 h 370"/>
                <a:gd name="T78" fmla="*/ 145 w 629"/>
                <a:gd name="T79" fmla="*/ 0 h 370"/>
                <a:gd name="T80" fmla="*/ 184 w 629"/>
                <a:gd name="T81" fmla="*/ 5 h 370"/>
                <a:gd name="T82" fmla="*/ 217 w 629"/>
                <a:gd name="T83" fmla="*/ 11 h 370"/>
                <a:gd name="T84" fmla="*/ 254 w 629"/>
                <a:gd name="T85" fmla="*/ 8 h 370"/>
                <a:gd name="T86" fmla="*/ 262 w 629"/>
                <a:gd name="T87" fmla="*/ 40 h 370"/>
                <a:gd name="T88" fmla="*/ 281 w 629"/>
                <a:gd name="T89" fmla="*/ 62 h 370"/>
                <a:gd name="T90" fmla="*/ 292 w 629"/>
                <a:gd name="T91" fmla="*/ 76 h 370"/>
                <a:gd name="T92" fmla="*/ 302 w 629"/>
                <a:gd name="T93" fmla="*/ 75 h 370"/>
                <a:gd name="T94" fmla="*/ 305 w 629"/>
                <a:gd name="T95" fmla="*/ 62 h 370"/>
                <a:gd name="T96" fmla="*/ 321 w 629"/>
                <a:gd name="T97" fmla="*/ 45 h 370"/>
                <a:gd name="T98" fmla="*/ 330 w 629"/>
                <a:gd name="T99" fmla="*/ 41 h 370"/>
                <a:gd name="T100" fmla="*/ 335 w 629"/>
                <a:gd name="T101" fmla="*/ 30 h 370"/>
                <a:gd name="T102" fmla="*/ 356 w 629"/>
                <a:gd name="T103" fmla="*/ 60 h 370"/>
                <a:gd name="T104" fmla="*/ 370 w 629"/>
                <a:gd name="T105" fmla="*/ 67 h 370"/>
                <a:gd name="T106" fmla="*/ 393 w 629"/>
                <a:gd name="T107" fmla="*/ 4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29" h="370">
                  <a:moveTo>
                    <a:pt x="393" y="40"/>
                  </a:moveTo>
                  <a:lnTo>
                    <a:pt x="402" y="43"/>
                  </a:lnTo>
                  <a:lnTo>
                    <a:pt x="418" y="45"/>
                  </a:lnTo>
                  <a:lnTo>
                    <a:pt x="413" y="48"/>
                  </a:lnTo>
                  <a:lnTo>
                    <a:pt x="415" y="51"/>
                  </a:lnTo>
                  <a:lnTo>
                    <a:pt x="413" y="56"/>
                  </a:lnTo>
                  <a:lnTo>
                    <a:pt x="412" y="57"/>
                  </a:lnTo>
                  <a:lnTo>
                    <a:pt x="415" y="60"/>
                  </a:lnTo>
                  <a:lnTo>
                    <a:pt x="423" y="65"/>
                  </a:lnTo>
                  <a:lnTo>
                    <a:pt x="426" y="70"/>
                  </a:lnTo>
                  <a:lnTo>
                    <a:pt x="434" y="70"/>
                  </a:lnTo>
                  <a:lnTo>
                    <a:pt x="442" y="80"/>
                  </a:lnTo>
                  <a:lnTo>
                    <a:pt x="461" y="76"/>
                  </a:lnTo>
                  <a:lnTo>
                    <a:pt x="476" y="78"/>
                  </a:lnTo>
                  <a:lnTo>
                    <a:pt x="487" y="84"/>
                  </a:lnTo>
                  <a:lnTo>
                    <a:pt x="492" y="92"/>
                  </a:lnTo>
                  <a:lnTo>
                    <a:pt x="492" y="97"/>
                  </a:lnTo>
                  <a:lnTo>
                    <a:pt x="488" y="104"/>
                  </a:lnTo>
                  <a:lnTo>
                    <a:pt x="487" y="104"/>
                  </a:lnTo>
                  <a:lnTo>
                    <a:pt x="485" y="110"/>
                  </a:lnTo>
                  <a:lnTo>
                    <a:pt x="469" y="147"/>
                  </a:lnTo>
                  <a:lnTo>
                    <a:pt x="466" y="151"/>
                  </a:lnTo>
                  <a:lnTo>
                    <a:pt x="469" y="159"/>
                  </a:lnTo>
                  <a:lnTo>
                    <a:pt x="472" y="193"/>
                  </a:lnTo>
                  <a:lnTo>
                    <a:pt x="492" y="215"/>
                  </a:lnTo>
                  <a:lnTo>
                    <a:pt x="504" y="220"/>
                  </a:lnTo>
                  <a:lnTo>
                    <a:pt x="527" y="215"/>
                  </a:lnTo>
                  <a:lnTo>
                    <a:pt x="565" y="215"/>
                  </a:lnTo>
                  <a:lnTo>
                    <a:pt x="573" y="217"/>
                  </a:lnTo>
                  <a:lnTo>
                    <a:pt x="583" y="225"/>
                  </a:lnTo>
                  <a:lnTo>
                    <a:pt x="605" y="228"/>
                  </a:lnTo>
                  <a:lnTo>
                    <a:pt x="629" y="239"/>
                  </a:lnTo>
                  <a:lnTo>
                    <a:pt x="619" y="263"/>
                  </a:lnTo>
                  <a:lnTo>
                    <a:pt x="611" y="265"/>
                  </a:lnTo>
                  <a:lnTo>
                    <a:pt x="602" y="263"/>
                  </a:lnTo>
                  <a:lnTo>
                    <a:pt x="589" y="257"/>
                  </a:lnTo>
                  <a:lnTo>
                    <a:pt x="573" y="242"/>
                  </a:lnTo>
                  <a:lnTo>
                    <a:pt x="549" y="238"/>
                  </a:lnTo>
                  <a:lnTo>
                    <a:pt x="547" y="242"/>
                  </a:lnTo>
                  <a:lnTo>
                    <a:pt x="552" y="244"/>
                  </a:lnTo>
                  <a:lnTo>
                    <a:pt x="552" y="250"/>
                  </a:lnTo>
                  <a:lnTo>
                    <a:pt x="557" y="254"/>
                  </a:lnTo>
                  <a:lnTo>
                    <a:pt x="560" y="252"/>
                  </a:lnTo>
                  <a:lnTo>
                    <a:pt x="562" y="254"/>
                  </a:lnTo>
                  <a:lnTo>
                    <a:pt x="563" y="252"/>
                  </a:lnTo>
                  <a:lnTo>
                    <a:pt x="565" y="254"/>
                  </a:lnTo>
                  <a:lnTo>
                    <a:pt x="563" y="257"/>
                  </a:lnTo>
                  <a:lnTo>
                    <a:pt x="568" y="258"/>
                  </a:lnTo>
                  <a:lnTo>
                    <a:pt x="567" y="262"/>
                  </a:lnTo>
                  <a:lnTo>
                    <a:pt x="571" y="263"/>
                  </a:lnTo>
                  <a:lnTo>
                    <a:pt x="571" y="268"/>
                  </a:lnTo>
                  <a:lnTo>
                    <a:pt x="576" y="266"/>
                  </a:lnTo>
                  <a:lnTo>
                    <a:pt x="576" y="273"/>
                  </a:lnTo>
                  <a:lnTo>
                    <a:pt x="573" y="274"/>
                  </a:lnTo>
                  <a:lnTo>
                    <a:pt x="575" y="279"/>
                  </a:lnTo>
                  <a:lnTo>
                    <a:pt x="571" y="277"/>
                  </a:lnTo>
                  <a:lnTo>
                    <a:pt x="571" y="282"/>
                  </a:lnTo>
                  <a:lnTo>
                    <a:pt x="567" y="285"/>
                  </a:lnTo>
                  <a:lnTo>
                    <a:pt x="567" y="301"/>
                  </a:lnTo>
                  <a:lnTo>
                    <a:pt x="576" y="313"/>
                  </a:lnTo>
                  <a:lnTo>
                    <a:pt x="533" y="352"/>
                  </a:lnTo>
                  <a:lnTo>
                    <a:pt x="503" y="314"/>
                  </a:lnTo>
                  <a:lnTo>
                    <a:pt x="477" y="306"/>
                  </a:lnTo>
                  <a:lnTo>
                    <a:pt x="445" y="287"/>
                  </a:lnTo>
                  <a:lnTo>
                    <a:pt x="399" y="276"/>
                  </a:lnTo>
                  <a:lnTo>
                    <a:pt x="381" y="276"/>
                  </a:lnTo>
                  <a:lnTo>
                    <a:pt x="365" y="281"/>
                  </a:lnTo>
                  <a:lnTo>
                    <a:pt x="342" y="297"/>
                  </a:lnTo>
                  <a:lnTo>
                    <a:pt x="338" y="321"/>
                  </a:lnTo>
                  <a:lnTo>
                    <a:pt x="337" y="343"/>
                  </a:lnTo>
                  <a:lnTo>
                    <a:pt x="350" y="370"/>
                  </a:lnTo>
                  <a:lnTo>
                    <a:pt x="338" y="368"/>
                  </a:lnTo>
                  <a:lnTo>
                    <a:pt x="329" y="364"/>
                  </a:lnTo>
                  <a:lnTo>
                    <a:pt x="326" y="360"/>
                  </a:lnTo>
                  <a:lnTo>
                    <a:pt x="314" y="357"/>
                  </a:lnTo>
                  <a:lnTo>
                    <a:pt x="310" y="352"/>
                  </a:lnTo>
                  <a:lnTo>
                    <a:pt x="306" y="352"/>
                  </a:lnTo>
                  <a:lnTo>
                    <a:pt x="297" y="346"/>
                  </a:lnTo>
                  <a:lnTo>
                    <a:pt x="292" y="346"/>
                  </a:lnTo>
                  <a:lnTo>
                    <a:pt x="289" y="340"/>
                  </a:lnTo>
                  <a:lnTo>
                    <a:pt x="276" y="340"/>
                  </a:lnTo>
                  <a:lnTo>
                    <a:pt x="268" y="333"/>
                  </a:lnTo>
                  <a:lnTo>
                    <a:pt x="255" y="332"/>
                  </a:lnTo>
                  <a:lnTo>
                    <a:pt x="228" y="317"/>
                  </a:lnTo>
                  <a:lnTo>
                    <a:pt x="204" y="317"/>
                  </a:lnTo>
                  <a:lnTo>
                    <a:pt x="192" y="313"/>
                  </a:lnTo>
                  <a:lnTo>
                    <a:pt x="180" y="313"/>
                  </a:lnTo>
                  <a:lnTo>
                    <a:pt x="144" y="305"/>
                  </a:lnTo>
                  <a:lnTo>
                    <a:pt x="133" y="306"/>
                  </a:lnTo>
                  <a:lnTo>
                    <a:pt x="126" y="301"/>
                  </a:lnTo>
                  <a:lnTo>
                    <a:pt x="102" y="301"/>
                  </a:lnTo>
                  <a:lnTo>
                    <a:pt x="97" y="305"/>
                  </a:lnTo>
                  <a:lnTo>
                    <a:pt x="91" y="305"/>
                  </a:lnTo>
                  <a:lnTo>
                    <a:pt x="69" y="311"/>
                  </a:lnTo>
                  <a:lnTo>
                    <a:pt x="65" y="309"/>
                  </a:lnTo>
                  <a:lnTo>
                    <a:pt x="40" y="324"/>
                  </a:lnTo>
                  <a:lnTo>
                    <a:pt x="27" y="327"/>
                  </a:lnTo>
                  <a:lnTo>
                    <a:pt x="22" y="327"/>
                  </a:lnTo>
                  <a:lnTo>
                    <a:pt x="14" y="332"/>
                  </a:lnTo>
                  <a:lnTo>
                    <a:pt x="13" y="336"/>
                  </a:lnTo>
                  <a:lnTo>
                    <a:pt x="0" y="341"/>
                  </a:lnTo>
                  <a:lnTo>
                    <a:pt x="2" y="321"/>
                  </a:lnTo>
                  <a:lnTo>
                    <a:pt x="5" y="319"/>
                  </a:lnTo>
                  <a:lnTo>
                    <a:pt x="2" y="314"/>
                  </a:lnTo>
                  <a:lnTo>
                    <a:pt x="5" y="313"/>
                  </a:lnTo>
                  <a:lnTo>
                    <a:pt x="2" y="306"/>
                  </a:lnTo>
                  <a:lnTo>
                    <a:pt x="6" y="298"/>
                  </a:lnTo>
                  <a:lnTo>
                    <a:pt x="5" y="285"/>
                  </a:lnTo>
                  <a:lnTo>
                    <a:pt x="8" y="271"/>
                  </a:lnTo>
                  <a:lnTo>
                    <a:pt x="2" y="238"/>
                  </a:lnTo>
                  <a:lnTo>
                    <a:pt x="8" y="215"/>
                  </a:lnTo>
                  <a:lnTo>
                    <a:pt x="58" y="215"/>
                  </a:lnTo>
                  <a:lnTo>
                    <a:pt x="80" y="202"/>
                  </a:lnTo>
                  <a:lnTo>
                    <a:pt x="109" y="175"/>
                  </a:lnTo>
                  <a:lnTo>
                    <a:pt x="140" y="124"/>
                  </a:lnTo>
                  <a:lnTo>
                    <a:pt x="145" y="112"/>
                  </a:lnTo>
                  <a:lnTo>
                    <a:pt x="145" y="89"/>
                  </a:lnTo>
                  <a:lnTo>
                    <a:pt x="139" y="53"/>
                  </a:lnTo>
                  <a:lnTo>
                    <a:pt x="137" y="33"/>
                  </a:lnTo>
                  <a:lnTo>
                    <a:pt x="145" y="0"/>
                  </a:lnTo>
                  <a:lnTo>
                    <a:pt x="169" y="1"/>
                  </a:lnTo>
                  <a:lnTo>
                    <a:pt x="166" y="13"/>
                  </a:lnTo>
                  <a:lnTo>
                    <a:pt x="184" y="5"/>
                  </a:lnTo>
                  <a:lnTo>
                    <a:pt x="201" y="13"/>
                  </a:lnTo>
                  <a:lnTo>
                    <a:pt x="212" y="13"/>
                  </a:lnTo>
                  <a:lnTo>
                    <a:pt x="217" y="11"/>
                  </a:lnTo>
                  <a:lnTo>
                    <a:pt x="228" y="0"/>
                  </a:lnTo>
                  <a:lnTo>
                    <a:pt x="251" y="5"/>
                  </a:lnTo>
                  <a:lnTo>
                    <a:pt x="254" y="8"/>
                  </a:lnTo>
                  <a:lnTo>
                    <a:pt x="251" y="17"/>
                  </a:lnTo>
                  <a:lnTo>
                    <a:pt x="254" y="27"/>
                  </a:lnTo>
                  <a:lnTo>
                    <a:pt x="262" y="40"/>
                  </a:lnTo>
                  <a:lnTo>
                    <a:pt x="273" y="38"/>
                  </a:lnTo>
                  <a:lnTo>
                    <a:pt x="281" y="46"/>
                  </a:lnTo>
                  <a:lnTo>
                    <a:pt x="281" y="62"/>
                  </a:lnTo>
                  <a:lnTo>
                    <a:pt x="286" y="68"/>
                  </a:lnTo>
                  <a:lnTo>
                    <a:pt x="286" y="73"/>
                  </a:lnTo>
                  <a:lnTo>
                    <a:pt x="292" y="76"/>
                  </a:lnTo>
                  <a:lnTo>
                    <a:pt x="294" y="73"/>
                  </a:lnTo>
                  <a:lnTo>
                    <a:pt x="297" y="76"/>
                  </a:lnTo>
                  <a:lnTo>
                    <a:pt x="302" y="75"/>
                  </a:lnTo>
                  <a:lnTo>
                    <a:pt x="302" y="72"/>
                  </a:lnTo>
                  <a:lnTo>
                    <a:pt x="306" y="70"/>
                  </a:lnTo>
                  <a:lnTo>
                    <a:pt x="305" y="62"/>
                  </a:lnTo>
                  <a:lnTo>
                    <a:pt x="310" y="51"/>
                  </a:lnTo>
                  <a:lnTo>
                    <a:pt x="314" y="51"/>
                  </a:lnTo>
                  <a:lnTo>
                    <a:pt x="321" y="45"/>
                  </a:lnTo>
                  <a:lnTo>
                    <a:pt x="322" y="46"/>
                  </a:lnTo>
                  <a:lnTo>
                    <a:pt x="326" y="41"/>
                  </a:lnTo>
                  <a:lnTo>
                    <a:pt x="330" y="41"/>
                  </a:lnTo>
                  <a:lnTo>
                    <a:pt x="332" y="38"/>
                  </a:lnTo>
                  <a:lnTo>
                    <a:pt x="332" y="32"/>
                  </a:lnTo>
                  <a:lnTo>
                    <a:pt x="335" y="30"/>
                  </a:lnTo>
                  <a:lnTo>
                    <a:pt x="345" y="35"/>
                  </a:lnTo>
                  <a:lnTo>
                    <a:pt x="358" y="45"/>
                  </a:lnTo>
                  <a:lnTo>
                    <a:pt x="356" y="60"/>
                  </a:lnTo>
                  <a:lnTo>
                    <a:pt x="358" y="65"/>
                  </a:lnTo>
                  <a:lnTo>
                    <a:pt x="361" y="67"/>
                  </a:lnTo>
                  <a:lnTo>
                    <a:pt x="370" y="67"/>
                  </a:lnTo>
                  <a:lnTo>
                    <a:pt x="383" y="59"/>
                  </a:lnTo>
                  <a:lnTo>
                    <a:pt x="386" y="40"/>
                  </a:lnTo>
                  <a:lnTo>
                    <a:pt x="393" y="4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/>
            <a:lstStyle/>
            <a:p>
              <a:pPr algn="ctr"/>
              <a:endParaRPr lang="en-US" sz="800" dirty="0"/>
            </a:p>
          </p:txBody>
        </p:sp>
        <p:sp>
          <p:nvSpPr>
            <p:cNvPr id="10" name="Freeform 194">
              <a:extLst>
                <a:ext uri="{FF2B5EF4-FFF2-40B4-BE49-F238E27FC236}">
                  <a16:creationId xmlns:a16="http://schemas.microsoft.com/office/drawing/2014/main" id="{0A57074F-6811-45A1-AE09-75CA8CA0F32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9288" y="5243513"/>
              <a:ext cx="287337" cy="458787"/>
            </a:xfrm>
            <a:custGeom>
              <a:avLst/>
              <a:gdLst>
                <a:gd name="T0" fmla="*/ 168 w 181"/>
                <a:gd name="T1" fmla="*/ 229 h 289"/>
                <a:gd name="T2" fmla="*/ 143 w 181"/>
                <a:gd name="T3" fmla="*/ 243 h 289"/>
                <a:gd name="T4" fmla="*/ 119 w 181"/>
                <a:gd name="T5" fmla="*/ 238 h 289"/>
                <a:gd name="T6" fmla="*/ 93 w 181"/>
                <a:gd name="T7" fmla="*/ 249 h 289"/>
                <a:gd name="T8" fmla="*/ 83 w 181"/>
                <a:gd name="T9" fmla="*/ 260 h 289"/>
                <a:gd name="T10" fmla="*/ 36 w 181"/>
                <a:gd name="T11" fmla="*/ 278 h 289"/>
                <a:gd name="T12" fmla="*/ 13 w 181"/>
                <a:gd name="T13" fmla="*/ 289 h 289"/>
                <a:gd name="T14" fmla="*/ 0 w 181"/>
                <a:gd name="T15" fmla="*/ 284 h 289"/>
                <a:gd name="T16" fmla="*/ 10 w 181"/>
                <a:gd name="T17" fmla="*/ 270 h 289"/>
                <a:gd name="T18" fmla="*/ 18 w 181"/>
                <a:gd name="T19" fmla="*/ 230 h 289"/>
                <a:gd name="T20" fmla="*/ 26 w 181"/>
                <a:gd name="T21" fmla="*/ 209 h 289"/>
                <a:gd name="T22" fmla="*/ 31 w 181"/>
                <a:gd name="T23" fmla="*/ 197 h 289"/>
                <a:gd name="T24" fmla="*/ 37 w 181"/>
                <a:gd name="T25" fmla="*/ 179 h 289"/>
                <a:gd name="T26" fmla="*/ 29 w 181"/>
                <a:gd name="T27" fmla="*/ 147 h 289"/>
                <a:gd name="T28" fmla="*/ 24 w 181"/>
                <a:gd name="T29" fmla="*/ 126 h 289"/>
                <a:gd name="T30" fmla="*/ 21 w 181"/>
                <a:gd name="T31" fmla="*/ 112 h 289"/>
                <a:gd name="T32" fmla="*/ 26 w 181"/>
                <a:gd name="T33" fmla="*/ 71 h 289"/>
                <a:gd name="T34" fmla="*/ 39 w 181"/>
                <a:gd name="T35" fmla="*/ 56 h 289"/>
                <a:gd name="T36" fmla="*/ 40 w 181"/>
                <a:gd name="T37" fmla="*/ 48 h 289"/>
                <a:gd name="T38" fmla="*/ 52 w 181"/>
                <a:gd name="T39" fmla="*/ 24 h 289"/>
                <a:gd name="T40" fmla="*/ 69 w 181"/>
                <a:gd name="T41" fmla="*/ 13 h 289"/>
                <a:gd name="T42" fmla="*/ 82 w 181"/>
                <a:gd name="T43" fmla="*/ 18 h 289"/>
                <a:gd name="T44" fmla="*/ 93 w 181"/>
                <a:gd name="T45" fmla="*/ 47 h 289"/>
                <a:gd name="T46" fmla="*/ 128 w 181"/>
                <a:gd name="T47" fmla="*/ 69 h 289"/>
                <a:gd name="T48" fmla="*/ 130 w 181"/>
                <a:gd name="T49" fmla="*/ 87 h 289"/>
                <a:gd name="T50" fmla="*/ 112 w 181"/>
                <a:gd name="T51" fmla="*/ 96 h 289"/>
                <a:gd name="T52" fmla="*/ 106 w 181"/>
                <a:gd name="T53" fmla="*/ 98 h 289"/>
                <a:gd name="T54" fmla="*/ 99 w 181"/>
                <a:gd name="T55" fmla="*/ 104 h 289"/>
                <a:gd name="T56" fmla="*/ 90 w 181"/>
                <a:gd name="T57" fmla="*/ 104 h 289"/>
                <a:gd name="T58" fmla="*/ 88 w 181"/>
                <a:gd name="T59" fmla="*/ 109 h 289"/>
                <a:gd name="T60" fmla="*/ 96 w 181"/>
                <a:gd name="T61" fmla="*/ 110 h 289"/>
                <a:gd name="T62" fmla="*/ 107 w 181"/>
                <a:gd name="T63" fmla="*/ 115 h 289"/>
                <a:gd name="T64" fmla="*/ 111 w 181"/>
                <a:gd name="T65" fmla="*/ 120 h 289"/>
                <a:gd name="T66" fmla="*/ 120 w 181"/>
                <a:gd name="T67" fmla="*/ 131 h 289"/>
                <a:gd name="T68" fmla="*/ 122 w 181"/>
                <a:gd name="T69" fmla="*/ 136 h 289"/>
                <a:gd name="T70" fmla="*/ 130 w 181"/>
                <a:gd name="T71" fmla="*/ 160 h 289"/>
                <a:gd name="T72" fmla="*/ 146 w 181"/>
                <a:gd name="T73" fmla="*/ 168 h 289"/>
                <a:gd name="T74" fmla="*/ 158 w 181"/>
                <a:gd name="T75" fmla="*/ 201 h 289"/>
                <a:gd name="T76" fmla="*/ 181 w 181"/>
                <a:gd name="T77" fmla="*/ 211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81" h="289">
                  <a:moveTo>
                    <a:pt x="181" y="211"/>
                  </a:moveTo>
                  <a:lnTo>
                    <a:pt x="168" y="229"/>
                  </a:lnTo>
                  <a:lnTo>
                    <a:pt x="158" y="236"/>
                  </a:lnTo>
                  <a:lnTo>
                    <a:pt x="143" y="243"/>
                  </a:lnTo>
                  <a:lnTo>
                    <a:pt x="127" y="243"/>
                  </a:lnTo>
                  <a:lnTo>
                    <a:pt x="119" y="238"/>
                  </a:lnTo>
                  <a:lnTo>
                    <a:pt x="109" y="240"/>
                  </a:lnTo>
                  <a:lnTo>
                    <a:pt x="93" y="249"/>
                  </a:lnTo>
                  <a:lnTo>
                    <a:pt x="87" y="251"/>
                  </a:lnTo>
                  <a:lnTo>
                    <a:pt x="83" y="260"/>
                  </a:lnTo>
                  <a:lnTo>
                    <a:pt x="60" y="278"/>
                  </a:lnTo>
                  <a:lnTo>
                    <a:pt x="36" y="278"/>
                  </a:lnTo>
                  <a:lnTo>
                    <a:pt x="23" y="288"/>
                  </a:lnTo>
                  <a:lnTo>
                    <a:pt x="13" y="289"/>
                  </a:lnTo>
                  <a:lnTo>
                    <a:pt x="5" y="289"/>
                  </a:lnTo>
                  <a:lnTo>
                    <a:pt x="0" y="284"/>
                  </a:lnTo>
                  <a:lnTo>
                    <a:pt x="2" y="276"/>
                  </a:lnTo>
                  <a:lnTo>
                    <a:pt x="10" y="270"/>
                  </a:lnTo>
                  <a:lnTo>
                    <a:pt x="12" y="251"/>
                  </a:lnTo>
                  <a:lnTo>
                    <a:pt x="18" y="230"/>
                  </a:lnTo>
                  <a:lnTo>
                    <a:pt x="24" y="222"/>
                  </a:lnTo>
                  <a:lnTo>
                    <a:pt x="26" y="209"/>
                  </a:lnTo>
                  <a:lnTo>
                    <a:pt x="32" y="203"/>
                  </a:lnTo>
                  <a:lnTo>
                    <a:pt x="31" y="197"/>
                  </a:lnTo>
                  <a:lnTo>
                    <a:pt x="24" y="192"/>
                  </a:lnTo>
                  <a:lnTo>
                    <a:pt x="37" y="179"/>
                  </a:lnTo>
                  <a:lnTo>
                    <a:pt x="39" y="165"/>
                  </a:lnTo>
                  <a:lnTo>
                    <a:pt x="29" y="147"/>
                  </a:lnTo>
                  <a:lnTo>
                    <a:pt x="31" y="133"/>
                  </a:lnTo>
                  <a:lnTo>
                    <a:pt x="24" y="126"/>
                  </a:lnTo>
                  <a:lnTo>
                    <a:pt x="24" y="118"/>
                  </a:lnTo>
                  <a:lnTo>
                    <a:pt x="21" y="112"/>
                  </a:lnTo>
                  <a:lnTo>
                    <a:pt x="15" y="72"/>
                  </a:lnTo>
                  <a:lnTo>
                    <a:pt x="26" y="71"/>
                  </a:lnTo>
                  <a:lnTo>
                    <a:pt x="36" y="66"/>
                  </a:lnTo>
                  <a:lnTo>
                    <a:pt x="39" y="56"/>
                  </a:lnTo>
                  <a:lnTo>
                    <a:pt x="39" y="53"/>
                  </a:lnTo>
                  <a:lnTo>
                    <a:pt x="40" y="48"/>
                  </a:lnTo>
                  <a:lnTo>
                    <a:pt x="48" y="37"/>
                  </a:lnTo>
                  <a:lnTo>
                    <a:pt x="52" y="24"/>
                  </a:lnTo>
                  <a:lnTo>
                    <a:pt x="50" y="23"/>
                  </a:lnTo>
                  <a:lnTo>
                    <a:pt x="69" y="13"/>
                  </a:lnTo>
                  <a:lnTo>
                    <a:pt x="80" y="0"/>
                  </a:lnTo>
                  <a:lnTo>
                    <a:pt x="82" y="18"/>
                  </a:lnTo>
                  <a:lnTo>
                    <a:pt x="77" y="47"/>
                  </a:lnTo>
                  <a:lnTo>
                    <a:pt x="93" y="47"/>
                  </a:lnTo>
                  <a:lnTo>
                    <a:pt x="131" y="63"/>
                  </a:lnTo>
                  <a:lnTo>
                    <a:pt x="128" y="69"/>
                  </a:lnTo>
                  <a:lnTo>
                    <a:pt x="131" y="83"/>
                  </a:lnTo>
                  <a:lnTo>
                    <a:pt x="130" y="87"/>
                  </a:lnTo>
                  <a:lnTo>
                    <a:pt x="122" y="90"/>
                  </a:lnTo>
                  <a:lnTo>
                    <a:pt x="112" y="96"/>
                  </a:lnTo>
                  <a:lnTo>
                    <a:pt x="109" y="95"/>
                  </a:lnTo>
                  <a:lnTo>
                    <a:pt x="106" y="98"/>
                  </a:lnTo>
                  <a:lnTo>
                    <a:pt x="103" y="96"/>
                  </a:lnTo>
                  <a:lnTo>
                    <a:pt x="99" y="104"/>
                  </a:lnTo>
                  <a:lnTo>
                    <a:pt x="96" y="106"/>
                  </a:lnTo>
                  <a:lnTo>
                    <a:pt x="90" y="104"/>
                  </a:lnTo>
                  <a:lnTo>
                    <a:pt x="88" y="106"/>
                  </a:lnTo>
                  <a:lnTo>
                    <a:pt x="88" y="109"/>
                  </a:lnTo>
                  <a:lnTo>
                    <a:pt x="91" y="112"/>
                  </a:lnTo>
                  <a:lnTo>
                    <a:pt x="96" y="110"/>
                  </a:lnTo>
                  <a:lnTo>
                    <a:pt x="101" y="114"/>
                  </a:lnTo>
                  <a:lnTo>
                    <a:pt x="107" y="115"/>
                  </a:lnTo>
                  <a:lnTo>
                    <a:pt x="106" y="118"/>
                  </a:lnTo>
                  <a:lnTo>
                    <a:pt x="111" y="120"/>
                  </a:lnTo>
                  <a:lnTo>
                    <a:pt x="112" y="125"/>
                  </a:lnTo>
                  <a:lnTo>
                    <a:pt x="120" y="131"/>
                  </a:lnTo>
                  <a:lnTo>
                    <a:pt x="120" y="136"/>
                  </a:lnTo>
                  <a:lnTo>
                    <a:pt x="122" y="136"/>
                  </a:lnTo>
                  <a:lnTo>
                    <a:pt x="128" y="144"/>
                  </a:lnTo>
                  <a:lnTo>
                    <a:pt x="130" y="160"/>
                  </a:lnTo>
                  <a:lnTo>
                    <a:pt x="141" y="163"/>
                  </a:lnTo>
                  <a:lnTo>
                    <a:pt x="146" y="168"/>
                  </a:lnTo>
                  <a:lnTo>
                    <a:pt x="149" y="185"/>
                  </a:lnTo>
                  <a:lnTo>
                    <a:pt x="158" y="201"/>
                  </a:lnTo>
                  <a:lnTo>
                    <a:pt x="168" y="208"/>
                  </a:lnTo>
                  <a:lnTo>
                    <a:pt x="181" y="21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/>
            <a:lstStyle/>
            <a:p>
              <a:pPr algn="ctr"/>
              <a:endParaRPr lang="en-US" sz="800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195">
              <a:extLst>
                <a:ext uri="{FF2B5EF4-FFF2-40B4-BE49-F238E27FC236}">
                  <a16:creationId xmlns:a16="http://schemas.microsoft.com/office/drawing/2014/main" id="{93BBB619-DCB9-45C9-9455-E66B1291712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7188" y="4230688"/>
              <a:ext cx="990600" cy="1155700"/>
            </a:xfrm>
            <a:custGeom>
              <a:avLst/>
              <a:gdLst>
                <a:gd name="T0" fmla="*/ 503 w 624"/>
                <a:gd name="T1" fmla="*/ 10 h 728"/>
                <a:gd name="T2" fmla="*/ 543 w 624"/>
                <a:gd name="T3" fmla="*/ 35 h 728"/>
                <a:gd name="T4" fmla="*/ 586 w 624"/>
                <a:gd name="T5" fmla="*/ 99 h 728"/>
                <a:gd name="T6" fmla="*/ 624 w 624"/>
                <a:gd name="T7" fmla="*/ 169 h 728"/>
                <a:gd name="T8" fmla="*/ 586 w 624"/>
                <a:gd name="T9" fmla="*/ 263 h 728"/>
                <a:gd name="T10" fmla="*/ 557 w 624"/>
                <a:gd name="T11" fmla="*/ 279 h 728"/>
                <a:gd name="T12" fmla="*/ 527 w 624"/>
                <a:gd name="T13" fmla="*/ 330 h 728"/>
                <a:gd name="T14" fmla="*/ 521 w 624"/>
                <a:gd name="T15" fmla="*/ 425 h 728"/>
                <a:gd name="T16" fmla="*/ 535 w 624"/>
                <a:gd name="T17" fmla="*/ 417 h 728"/>
                <a:gd name="T18" fmla="*/ 559 w 624"/>
                <a:gd name="T19" fmla="*/ 405 h 728"/>
                <a:gd name="T20" fmla="*/ 586 w 624"/>
                <a:gd name="T21" fmla="*/ 429 h 728"/>
                <a:gd name="T22" fmla="*/ 599 w 624"/>
                <a:gd name="T23" fmla="*/ 460 h 728"/>
                <a:gd name="T24" fmla="*/ 591 w 624"/>
                <a:gd name="T25" fmla="*/ 485 h 728"/>
                <a:gd name="T26" fmla="*/ 594 w 624"/>
                <a:gd name="T27" fmla="*/ 500 h 728"/>
                <a:gd name="T28" fmla="*/ 612 w 624"/>
                <a:gd name="T29" fmla="*/ 512 h 728"/>
                <a:gd name="T30" fmla="*/ 613 w 624"/>
                <a:gd name="T31" fmla="*/ 555 h 728"/>
                <a:gd name="T32" fmla="*/ 610 w 624"/>
                <a:gd name="T33" fmla="*/ 589 h 728"/>
                <a:gd name="T34" fmla="*/ 585 w 624"/>
                <a:gd name="T35" fmla="*/ 595 h 728"/>
                <a:gd name="T36" fmla="*/ 569 w 624"/>
                <a:gd name="T37" fmla="*/ 613 h 728"/>
                <a:gd name="T38" fmla="*/ 548 w 624"/>
                <a:gd name="T39" fmla="*/ 635 h 728"/>
                <a:gd name="T40" fmla="*/ 553 w 624"/>
                <a:gd name="T41" fmla="*/ 656 h 728"/>
                <a:gd name="T42" fmla="*/ 543 w 624"/>
                <a:gd name="T43" fmla="*/ 688 h 728"/>
                <a:gd name="T44" fmla="*/ 522 w 624"/>
                <a:gd name="T45" fmla="*/ 702 h 728"/>
                <a:gd name="T46" fmla="*/ 514 w 624"/>
                <a:gd name="T47" fmla="*/ 721 h 728"/>
                <a:gd name="T48" fmla="*/ 478 w 624"/>
                <a:gd name="T49" fmla="*/ 718 h 728"/>
                <a:gd name="T50" fmla="*/ 447 w 624"/>
                <a:gd name="T51" fmla="*/ 720 h 728"/>
                <a:gd name="T52" fmla="*/ 427 w 624"/>
                <a:gd name="T53" fmla="*/ 678 h 728"/>
                <a:gd name="T54" fmla="*/ 401 w 624"/>
                <a:gd name="T55" fmla="*/ 683 h 728"/>
                <a:gd name="T56" fmla="*/ 391 w 624"/>
                <a:gd name="T57" fmla="*/ 664 h 728"/>
                <a:gd name="T58" fmla="*/ 371 w 624"/>
                <a:gd name="T59" fmla="*/ 648 h 728"/>
                <a:gd name="T60" fmla="*/ 360 w 624"/>
                <a:gd name="T61" fmla="*/ 621 h 728"/>
                <a:gd name="T62" fmla="*/ 339 w 624"/>
                <a:gd name="T63" fmla="*/ 606 h 728"/>
                <a:gd name="T64" fmla="*/ 326 w 624"/>
                <a:gd name="T65" fmla="*/ 598 h 728"/>
                <a:gd name="T66" fmla="*/ 313 w 624"/>
                <a:gd name="T67" fmla="*/ 573 h 728"/>
                <a:gd name="T68" fmla="*/ 289 w 624"/>
                <a:gd name="T69" fmla="*/ 630 h 728"/>
                <a:gd name="T70" fmla="*/ 219 w 624"/>
                <a:gd name="T71" fmla="*/ 610 h 728"/>
                <a:gd name="T72" fmla="*/ 216 w 624"/>
                <a:gd name="T73" fmla="*/ 602 h 728"/>
                <a:gd name="T74" fmla="*/ 123 w 624"/>
                <a:gd name="T75" fmla="*/ 681 h 728"/>
                <a:gd name="T76" fmla="*/ 112 w 624"/>
                <a:gd name="T77" fmla="*/ 712 h 728"/>
                <a:gd name="T78" fmla="*/ 96 w 624"/>
                <a:gd name="T79" fmla="*/ 717 h 728"/>
                <a:gd name="T80" fmla="*/ 165 w 624"/>
                <a:gd name="T81" fmla="*/ 528 h 728"/>
                <a:gd name="T82" fmla="*/ 93 w 624"/>
                <a:gd name="T83" fmla="*/ 425 h 728"/>
                <a:gd name="T84" fmla="*/ 16 w 624"/>
                <a:gd name="T85" fmla="*/ 429 h 728"/>
                <a:gd name="T86" fmla="*/ 45 w 624"/>
                <a:gd name="T87" fmla="*/ 374 h 728"/>
                <a:gd name="T88" fmla="*/ 40 w 624"/>
                <a:gd name="T89" fmla="*/ 338 h 728"/>
                <a:gd name="T90" fmla="*/ 45 w 624"/>
                <a:gd name="T91" fmla="*/ 327 h 728"/>
                <a:gd name="T92" fmla="*/ 37 w 624"/>
                <a:gd name="T93" fmla="*/ 319 h 728"/>
                <a:gd name="T94" fmla="*/ 31 w 624"/>
                <a:gd name="T95" fmla="*/ 315 h 728"/>
                <a:gd name="T96" fmla="*/ 21 w 624"/>
                <a:gd name="T97" fmla="*/ 305 h 728"/>
                <a:gd name="T98" fmla="*/ 42 w 624"/>
                <a:gd name="T99" fmla="*/ 303 h 728"/>
                <a:gd name="T100" fmla="*/ 88 w 624"/>
                <a:gd name="T101" fmla="*/ 324 h 728"/>
                <a:gd name="T102" fmla="*/ 197 w 624"/>
                <a:gd name="T103" fmla="*/ 248 h 728"/>
                <a:gd name="T104" fmla="*/ 323 w 624"/>
                <a:gd name="T105" fmla="*/ 158 h 728"/>
                <a:gd name="T106" fmla="*/ 331 w 624"/>
                <a:gd name="T107" fmla="*/ 139 h 728"/>
                <a:gd name="T108" fmla="*/ 337 w 624"/>
                <a:gd name="T109" fmla="*/ 126 h 728"/>
                <a:gd name="T110" fmla="*/ 332 w 624"/>
                <a:gd name="T111" fmla="*/ 106 h 728"/>
                <a:gd name="T112" fmla="*/ 324 w 624"/>
                <a:gd name="T113" fmla="*/ 86 h 728"/>
                <a:gd name="T114" fmla="*/ 320 w 624"/>
                <a:gd name="T115" fmla="*/ 77 h 728"/>
                <a:gd name="T116" fmla="*/ 316 w 624"/>
                <a:gd name="T117" fmla="*/ 54 h 728"/>
                <a:gd name="T118" fmla="*/ 321 w 624"/>
                <a:gd name="T119" fmla="*/ 40 h 728"/>
                <a:gd name="T120" fmla="*/ 328 w 624"/>
                <a:gd name="T121" fmla="*/ 23 h 728"/>
                <a:gd name="T122" fmla="*/ 355 w 624"/>
                <a:gd name="T123" fmla="*/ 11 h 728"/>
                <a:gd name="T124" fmla="*/ 415 w 624"/>
                <a:gd name="T125" fmla="*/ 2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24" h="728">
                  <a:moveTo>
                    <a:pt x="460" y="5"/>
                  </a:moveTo>
                  <a:lnTo>
                    <a:pt x="482" y="11"/>
                  </a:lnTo>
                  <a:lnTo>
                    <a:pt x="482" y="16"/>
                  </a:lnTo>
                  <a:lnTo>
                    <a:pt x="503" y="10"/>
                  </a:lnTo>
                  <a:lnTo>
                    <a:pt x="508" y="5"/>
                  </a:lnTo>
                  <a:lnTo>
                    <a:pt x="511" y="8"/>
                  </a:lnTo>
                  <a:lnTo>
                    <a:pt x="522" y="2"/>
                  </a:lnTo>
                  <a:lnTo>
                    <a:pt x="543" y="35"/>
                  </a:lnTo>
                  <a:lnTo>
                    <a:pt x="565" y="56"/>
                  </a:lnTo>
                  <a:lnTo>
                    <a:pt x="581" y="75"/>
                  </a:lnTo>
                  <a:lnTo>
                    <a:pt x="586" y="83"/>
                  </a:lnTo>
                  <a:lnTo>
                    <a:pt x="586" y="99"/>
                  </a:lnTo>
                  <a:lnTo>
                    <a:pt x="593" y="125"/>
                  </a:lnTo>
                  <a:lnTo>
                    <a:pt x="615" y="141"/>
                  </a:lnTo>
                  <a:lnTo>
                    <a:pt x="623" y="155"/>
                  </a:lnTo>
                  <a:lnTo>
                    <a:pt x="624" y="169"/>
                  </a:lnTo>
                  <a:lnTo>
                    <a:pt x="600" y="220"/>
                  </a:lnTo>
                  <a:lnTo>
                    <a:pt x="599" y="243"/>
                  </a:lnTo>
                  <a:lnTo>
                    <a:pt x="596" y="249"/>
                  </a:lnTo>
                  <a:lnTo>
                    <a:pt x="586" y="263"/>
                  </a:lnTo>
                  <a:lnTo>
                    <a:pt x="573" y="265"/>
                  </a:lnTo>
                  <a:lnTo>
                    <a:pt x="565" y="270"/>
                  </a:lnTo>
                  <a:lnTo>
                    <a:pt x="562" y="278"/>
                  </a:lnTo>
                  <a:lnTo>
                    <a:pt x="557" y="279"/>
                  </a:lnTo>
                  <a:lnTo>
                    <a:pt x="551" y="291"/>
                  </a:lnTo>
                  <a:lnTo>
                    <a:pt x="541" y="300"/>
                  </a:lnTo>
                  <a:lnTo>
                    <a:pt x="537" y="316"/>
                  </a:lnTo>
                  <a:lnTo>
                    <a:pt x="527" y="330"/>
                  </a:lnTo>
                  <a:lnTo>
                    <a:pt x="503" y="359"/>
                  </a:lnTo>
                  <a:lnTo>
                    <a:pt x="505" y="380"/>
                  </a:lnTo>
                  <a:lnTo>
                    <a:pt x="511" y="405"/>
                  </a:lnTo>
                  <a:lnTo>
                    <a:pt x="521" y="425"/>
                  </a:lnTo>
                  <a:lnTo>
                    <a:pt x="530" y="425"/>
                  </a:lnTo>
                  <a:lnTo>
                    <a:pt x="530" y="418"/>
                  </a:lnTo>
                  <a:lnTo>
                    <a:pt x="533" y="420"/>
                  </a:lnTo>
                  <a:lnTo>
                    <a:pt x="535" y="417"/>
                  </a:lnTo>
                  <a:lnTo>
                    <a:pt x="533" y="413"/>
                  </a:lnTo>
                  <a:lnTo>
                    <a:pt x="538" y="397"/>
                  </a:lnTo>
                  <a:lnTo>
                    <a:pt x="551" y="396"/>
                  </a:lnTo>
                  <a:lnTo>
                    <a:pt x="559" y="405"/>
                  </a:lnTo>
                  <a:lnTo>
                    <a:pt x="567" y="410"/>
                  </a:lnTo>
                  <a:lnTo>
                    <a:pt x="569" y="417"/>
                  </a:lnTo>
                  <a:lnTo>
                    <a:pt x="573" y="423"/>
                  </a:lnTo>
                  <a:lnTo>
                    <a:pt x="586" y="429"/>
                  </a:lnTo>
                  <a:lnTo>
                    <a:pt x="594" y="441"/>
                  </a:lnTo>
                  <a:lnTo>
                    <a:pt x="596" y="447"/>
                  </a:lnTo>
                  <a:lnTo>
                    <a:pt x="593" y="457"/>
                  </a:lnTo>
                  <a:lnTo>
                    <a:pt x="599" y="460"/>
                  </a:lnTo>
                  <a:lnTo>
                    <a:pt x="604" y="464"/>
                  </a:lnTo>
                  <a:lnTo>
                    <a:pt x="591" y="469"/>
                  </a:lnTo>
                  <a:lnTo>
                    <a:pt x="594" y="479"/>
                  </a:lnTo>
                  <a:lnTo>
                    <a:pt x="591" y="485"/>
                  </a:lnTo>
                  <a:lnTo>
                    <a:pt x="594" y="490"/>
                  </a:lnTo>
                  <a:lnTo>
                    <a:pt x="591" y="493"/>
                  </a:lnTo>
                  <a:lnTo>
                    <a:pt x="596" y="496"/>
                  </a:lnTo>
                  <a:lnTo>
                    <a:pt x="594" y="500"/>
                  </a:lnTo>
                  <a:lnTo>
                    <a:pt x="597" y="500"/>
                  </a:lnTo>
                  <a:lnTo>
                    <a:pt x="599" y="504"/>
                  </a:lnTo>
                  <a:lnTo>
                    <a:pt x="605" y="506"/>
                  </a:lnTo>
                  <a:lnTo>
                    <a:pt x="612" y="512"/>
                  </a:lnTo>
                  <a:lnTo>
                    <a:pt x="618" y="527"/>
                  </a:lnTo>
                  <a:lnTo>
                    <a:pt x="620" y="536"/>
                  </a:lnTo>
                  <a:lnTo>
                    <a:pt x="604" y="554"/>
                  </a:lnTo>
                  <a:lnTo>
                    <a:pt x="613" y="555"/>
                  </a:lnTo>
                  <a:lnTo>
                    <a:pt x="608" y="568"/>
                  </a:lnTo>
                  <a:lnTo>
                    <a:pt x="616" y="583"/>
                  </a:lnTo>
                  <a:lnTo>
                    <a:pt x="616" y="591"/>
                  </a:lnTo>
                  <a:lnTo>
                    <a:pt x="610" y="589"/>
                  </a:lnTo>
                  <a:lnTo>
                    <a:pt x="607" y="592"/>
                  </a:lnTo>
                  <a:lnTo>
                    <a:pt x="600" y="591"/>
                  </a:lnTo>
                  <a:lnTo>
                    <a:pt x="596" y="598"/>
                  </a:lnTo>
                  <a:lnTo>
                    <a:pt x="585" y="595"/>
                  </a:lnTo>
                  <a:lnTo>
                    <a:pt x="580" y="597"/>
                  </a:lnTo>
                  <a:lnTo>
                    <a:pt x="581" y="602"/>
                  </a:lnTo>
                  <a:lnTo>
                    <a:pt x="575" y="605"/>
                  </a:lnTo>
                  <a:lnTo>
                    <a:pt x="569" y="613"/>
                  </a:lnTo>
                  <a:lnTo>
                    <a:pt x="562" y="613"/>
                  </a:lnTo>
                  <a:lnTo>
                    <a:pt x="559" y="616"/>
                  </a:lnTo>
                  <a:lnTo>
                    <a:pt x="556" y="630"/>
                  </a:lnTo>
                  <a:lnTo>
                    <a:pt x="548" y="635"/>
                  </a:lnTo>
                  <a:lnTo>
                    <a:pt x="543" y="643"/>
                  </a:lnTo>
                  <a:lnTo>
                    <a:pt x="549" y="646"/>
                  </a:lnTo>
                  <a:lnTo>
                    <a:pt x="549" y="653"/>
                  </a:lnTo>
                  <a:lnTo>
                    <a:pt x="553" y="656"/>
                  </a:lnTo>
                  <a:lnTo>
                    <a:pt x="548" y="661"/>
                  </a:lnTo>
                  <a:lnTo>
                    <a:pt x="549" y="672"/>
                  </a:lnTo>
                  <a:lnTo>
                    <a:pt x="543" y="677"/>
                  </a:lnTo>
                  <a:lnTo>
                    <a:pt x="543" y="688"/>
                  </a:lnTo>
                  <a:lnTo>
                    <a:pt x="537" y="694"/>
                  </a:lnTo>
                  <a:lnTo>
                    <a:pt x="535" y="701"/>
                  </a:lnTo>
                  <a:lnTo>
                    <a:pt x="529" y="705"/>
                  </a:lnTo>
                  <a:lnTo>
                    <a:pt x="522" y="702"/>
                  </a:lnTo>
                  <a:lnTo>
                    <a:pt x="513" y="704"/>
                  </a:lnTo>
                  <a:lnTo>
                    <a:pt x="514" y="715"/>
                  </a:lnTo>
                  <a:lnTo>
                    <a:pt x="511" y="718"/>
                  </a:lnTo>
                  <a:lnTo>
                    <a:pt x="514" y="721"/>
                  </a:lnTo>
                  <a:lnTo>
                    <a:pt x="500" y="721"/>
                  </a:lnTo>
                  <a:lnTo>
                    <a:pt x="495" y="728"/>
                  </a:lnTo>
                  <a:lnTo>
                    <a:pt x="487" y="726"/>
                  </a:lnTo>
                  <a:lnTo>
                    <a:pt x="478" y="718"/>
                  </a:lnTo>
                  <a:lnTo>
                    <a:pt x="471" y="723"/>
                  </a:lnTo>
                  <a:lnTo>
                    <a:pt x="465" y="718"/>
                  </a:lnTo>
                  <a:lnTo>
                    <a:pt x="455" y="721"/>
                  </a:lnTo>
                  <a:lnTo>
                    <a:pt x="447" y="720"/>
                  </a:lnTo>
                  <a:lnTo>
                    <a:pt x="441" y="725"/>
                  </a:lnTo>
                  <a:lnTo>
                    <a:pt x="436" y="723"/>
                  </a:lnTo>
                  <a:lnTo>
                    <a:pt x="436" y="686"/>
                  </a:lnTo>
                  <a:lnTo>
                    <a:pt x="427" y="678"/>
                  </a:lnTo>
                  <a:lnTo>
                    <a:pt x="425" y="680"/>
                  </a:lnTo>
                  <a:lnTo>
                    <a:pt x="420" y="678"/>
                  </a:lnTo>
                  <a:lnTo>
                    <a:pt x="411" y="685"/>
                  </a:lnTo>
                  <a:lnTo>
                    <a:pt x="401" y="683"/>
                  </a:lnTo>
                  <a:lnTo>
                    <a:pt x="401" y="685"/>
                  </a:lnTo>
                  <a:lnTo>
                    <a:pt x="395" y="678"/>
                  </a:lnTo>
                  <a:lnTo>
                    <a:pt x="393" y="665"/>
                  </a:lnTo>
                  <a:lnTo>
                    <a:pt x="391" y="664"/>
                  </a:lnTo>
                  <a:lnTo>
                    <a:pt x="390" y="667"/>
                  </a:lnTo>
                  <a:lnTo>
                    <a:pt x="385" y="659"/>
                  </a:lnTo>
                  <a:lnTo>
                    <a:pt x="375" y="654"/>
                  </a:lnTo>
                  <a:lnTo>
                    <a:pt x="371" y="648"/>
                  </a:lnTo>
                  <a:lnTo>
                    <a:pt x="375" y="626"/>
                  </a:lnTo>
                  <a:lnTo>
                    <a:pt x="366" y="619"/>
                  </a:lnTo>
                  <a:lnTo>
                    <a:pt x="361" y="618"/>
                  </a:lnTo>
                  <a:lnTo>
                    <a:pt x="360" y="621"/>
                  </a:lnTo>
                  <a:lnTo>
                    <a:pt x="352" y="613"/>
                  </a:lnTo>
                  <a:lnTo>
                    <a:pt x="348" y="613"/>
                  </a:lnTo>
                  <a:lnTo>
                    <a:pt x="344" y="608"/>
                  </a:lnTo>
                  <a:lnTo>
                    <a:pt x="339" y="606"/>
                  </a:lnTo>
                  <a:lnTo>
                    <a:pt x="339" y="602"/>
                  </a:lnTo>
                  <a:lnTo>
                    <a:pt x="334" y="598"/>
                  </a:lnTo>
                  <a:lnTo>
                    <a:pt x="332" y="600"/>
                  </a:lnTo>
                  <a:lnTo>
                    <a:pt x="326" y="598"/>
                  </a:lnTo>
                  <a:lnTo>
                    <a:pt x="320" y="592"/>
                  </a:lnTo>
                  <a:lnTo>
                    <a:pt x="321" y="586"/>
                  </a:lnTo>
                  <a:lnTo>
                    <a:pt x="320" y="576"/>
                  </a:lnTo>
                  <a:lnTo>
                    <a:pt x="313" y="573"/>
                  </a:lnTo>
                  <a:lnTo>
                    <a:pt x="310" y="610"/>
                  </a:lnTo>
                  <a:lnTo>
                    <a:pt x="304" y="629"/>
                  </a:lnTo>
                  <a:lnTo>
                    <a:pt x="294" y="634"/>
                  </a:lnTo>
                  <a:lnTo>
                    <a:pt x="289" y="630"/>
                  </a:lnTo>
                  <a:lnTo>
                    <a:pt x="230" y="635"/>
                  </a:lnTo>
                  <a:lnTo>
                    <a:pt x="221" y="626"/>
                  </a:lnTo>
                  <a:lnTo>
                    <a:pt x="224" y="619"/>
                  </a:lnTo>
                  <a:lnTo>
                    <a:pt x="219" y="610"/>
                  </a:lnTo>
                  <a:lnTo>
                    <a:pt x="221" y="608"/>
                  </a:lnTo>
                  <a:lnTo>
                    <a:pt x="217" y="606"/>
                  </a:lnTo>
                  <a:lnTo>
                    <a:pt x="217" y="602"/>
                  </a:lnTo>
                  <a:lnTo>
                    <a:pt x="216" y="602"/>
                  </a:lnTo>
                  <a:lnTo>
                    <a:pt x="147" y="662"/>
                  </a:lnTo>
                  <a:lnTo>
                    <a:pt x="128" y="659"/>
                  </a:lnTo>
                  <a:lnTo>
                    <a:pt x="125" y="667"/>
                  </a:lnTo>
                  <a:lnTo>
                    <a:pt x="123" y="681"/>
                  </a:lnTo>
                  <a:lnTo>
                    <a:pt x="125" y="686"/>
                  </a:lnTo>
                  <a:lnTo>
                    <a:pt x="122" y="686"/>
                  </a:lnTo>
                  <a:lnTo>
                    <a:pt x="122" y="691"/>
                  </a:lnTo>
                  <a:lnTo>
                    <a:pt x="112" y="712"/>
                  </a:lnTo>
                  <a:lnTo>
                    <a:pt x="112" y="723"/>
                  </a:lnTo>
                  <a:lnTo>
                    <a:pt x="109" y="726"/>
                  </a:lnTo>
                  <a:lnTo>
                    <a:pt x="101" y="726"/>
                  </a:lnTo>
                  <a:lnTo>
                    <a:pt x="96" y="717"/>
                  </a:lnTo>
                  <a:lnTo>
                    <a:pt x="107" y="648"/>
                  </a:lnTo>
                  <a:lnTo>
                    <a:pt x="114" y="638"/>
                  </a:lnTo>
                  <a:lnTo>
                    <a:pt x="123" y="611"/>
                  </a:lnTo>
                  <a:lnTo>
                    <a:pt x="165" y="528"/>
                  </a:lnTo>
                  <a:lnTo>
                    <a:pt x="166" y="495"/>
                  </a:lnTo>
                  <a:lnTo>
                    <a:pt x="115" y="450"/>
                  </a:lnTo>
                  <a:lnTo>
                    <a:pt x="114" y="445"/>
                  </a:lnTo>
                  <a:lnTo>
                    <a:pt x="93" y="425"/>
                  </a:lnTo>
                  <a:lnTo>
                    <a:pt x="64" y="404"/>
                  </a:lnTo>
                  <a:lnTo>
                    <a:pt x="50" y="407"/>
                  </a:lnTo>
                  <a:lnTo>
                    <a:pt x="39" y="418"/>
                  </a:lnTo>
                  <a:lnTo>
                    <a:pt x="16" y="429"/>
                  </a:lnTo>
                  <a:lnTo>
                    <a:pt x="7" y="429"/>
                  </a:lnTo>
                  <a:lnTo>
                    <a:pt x="2" y="425"/>
                  </a:lnTo>
                  <a:lnTo>
                    <a:pt x="0" y="415"/>
                  </a:lnTo>
                  <a:lnTo>
                    <a:pt x="45" y="374"/>
                  </a:lnTo>
                  <a:lnTo>
                    <a:pt x="36" y="362"/>
                  </a:lnTo>
                  <a:lnTo>
                    <a:pt x="36" y="346"/>
                  </a:lnTo>
                  <a:lnTo>
                    <a:pt x="40" y="343"/>
                  </a:lnTo>
                  <a:lnTo>
                    <a:pt x="40" y="338"/>
                  </a:lnTo>
                  <a:lnTo>
                    <a:pt x="44" y="340"/>
                  </a:lnTo>
                  <a:lnTo>
                    <a:pt x="42" y="335"/>
                  </a:lnTo>
                  <a:lnTo>
                    <a:pt x="45" y="334"/>
                  </a:lnTo>
                  <a:lnTo>
                    <a:pt x="45" y="327"/>
                  </a:lnTo>
                  <a:lnTo>
                    <a:pt x="40" y="329"/>
                  </a:lnTo>
                  <a:lnTo>
                    <a:pt x="40" y="324"/>
                  </a:lnTo>
                  <a:lnTo>
                    <a:pt x="36" y="323"/>
                  </a:lnTo>
                  <a:lnTo>
                    <a:pt x="37" y="319"/>
                  </a:lnTo>
                  <a:lnTo>
                    <a:pt x="32" y="318"/>
                  </a:lnTo>
                  <a:lnTo>
                    <a:pt x="34" y="315"/>
                  </a:lnTo>
                  <a:lnTo>
                    <a:pt x="32" y="313"/>
                  </a:lnTo>
                  <a:lnTo>
                    <a:pt x="31" y="315"/>
                  </a:lnTo>
                  <a:lnTo>
                    <a:pt x="29" y="313"/>
                  </a:lnTo>
                  <a:lnTo>
                    <a:pt x="24" y="313"/>
                  </a:lnTo>
                  <a:lnTo>
                    <a:pt x="20" y="308"/>
                  </a:lnTo>
                  <a:lnTo>
                    <a:pt x="21" y="305"/>
                  </a:lnTo>
                  <a:lnTo>
                    <a:pt x="16" y="303"/>
                  </a:lnTo>
                  <a:lnTo>
                    <a:pt x="16" y="300"/>
                  </a:lnTo>
                  <a:lnTo>
                    <a:pt x="21" y="297"/>
                  </a:lnTo>
                  <a:lnTo>
                    <a:pt x="42" y="303"/>
                  </a:lnTo>
                  <a:lnTo>
                    <a:pt x="58" y="318"/>
                  </a:lnTo>
                  <a:lnTo>
                    <a:pt x="71" y="324"/>
                  </a:lnTo>
                  <a:lnTo>
                    <a:pt x="80" y="326"/>
                  </a:lnTo>
                  <a:lnTo>
                    <a:pt x="88" y="324"/>
                  </a:lnTo>
                  <a:lnTo>
                    <a:pt x="98" y="300"/>
                  </a:lnTo>
                  <a:lnTo>
                    <a:pt x="120" y="300"/>
                  </a:lnTo>
                  <a:lnTo>
                    <a:pt x="139" y="292"/>
                  </a:lnTo>
                  <a:lnTo>
                    <a:pt x="197" y="248"/>
                  </a:lnTo>
                  <a:lnTo>
                    <a:pt x="248" y="188"/>
                  </a:lnTo>
                  <a:lnTo>
                    <a:pt x="273" y="166"/>
                  </a:lnTo>
                  <a:lnTo>
                    <a:pt x="297" y="155"/>
                  </a:lnTo>
                  <a:lnTo>
                    <a:pt x="323" y="158"/>
                  </a:lnTo>
                  <a:lnTo>
                    <a:pt x="326" y="155"/>
                  </a:lnTo>
                  <a:lnTo>
                    <a:pt x="329" y="145"/>
                  </a:lnTo>
                  <a:lnTo>
                    <a:pt x="334" y="144"/>
                  </a:lnTo>
                  <a:lnTo>
                    <a:pt x="331" y="139"/>
                  </a:lnTo>
                  <a:lnTo>
                    <a:pt x="331" y="136"/>
                  </a:lnTo>
                  <a:lnTo>
                    <a:pt x="336" y="134"/>
                  </a:lnTo>
                  <a:lnTo>
                    <a:pt x="339" y="129"/>
                  </a:lnTo>
                  <a:lnTo>
                    <a:pt x="337" y="126"/>
                  </a:lnTo>
                  <a:lnTo>
                    <a:pt x="331" y="125"/>
                  </a:lnTo>
                  <a:lnTo>
                    <a:pt x="328" y="117"/>
                  </a:lnTo>
                  <a:lnTo>
                    <a:pt x="331" y="115"/>
                  </a:lnTo>
                  <a:lnTo>
                    <a:pt x="332" y="106"/>
                  </a:lnTo>
                  <a:lnTo>
                    <a:pt x="328" y="101"/>
                  </a:lnTo>
                  <a:lnTo>
                    <a:pt x="328" y="96"/>
                  </a:lnTo>
                  <a:lnTo>
                    <a:pt x="320" y="91"/>
                  </a:lnTo>
                  <a:lnTo>
                    <a:pt x="324" y="86"/>
                  </a:lnTo>
                  <a:lnTo>
                    <a:pt x="321" y="85"/>
                  </a:lnTo>
                  <a:lnTo>
                    <a:pt x="323" y="80"/>
                  </a:lnTo>
                  <a:lnTo>
                    <a:pt x="320" y="80"/>
                  </a:lnTo>
                  <a:lnTo>
                    <a:pt x="320" y="77"/>
                  </a:lnTo>
                  <a:lnTo>
                    <a:pt x="318" y="74"/>
                  </a:lnTo>
                  <a:lnTo>
                    <a:pt x="318" y="67"/>
                  </a:lnTo>
                  <a:lnTo>
                    <a:pt x="321" y="64"/>
                  </a:lnTo>
                  <a:lnTo>
                    <a:pt x="316" y="54"/>
                  </a:lnTo>
                  <a:lnTo>
                    <a:pt x="318" y="50"/>
                  </a:lnTo>
                  <a:lnTo>
                    <a:pt x="315" y="48"/>
                  </a:lnTo>
                  <a:lnTo>
                    <a:pt x="318" y="42"/>
                  </a:lnTo>
                  <a:lnTo>
                    <a:pt x="321" y="40"/>
                  </a:lnTo>
                  <a:lnTo>
                    <a:pt x="318" y="31"/>
                  </a:lnTo>
                  <a:lnTo>
                    <a:pt x="323" y="27"/>
                  </a:lnTo>
                  <a:lnTo>
                    <a:pt x="323" y="19"/>
                  </a:lnTo>
                  <a:lnTo>
                    <a:pt x="328" y="23"/>
                  </a:lnTo>
                  <a:lnTo>
                    <a:pt x="331" y="16"/>
                  </a:lnTo>
                  <a:lnTo>
                    <a:pt x="340" y="21"/>
                  </a:lnTo>
                  <a:lnTo>
                    <a:pt x="348" y="11"/>
                  </a:lnTo>
                  <a:lnTo>
                    <a:pt x="355" y="11"/>
                  </a:lnTo>
                  <a:lnTo>
                    <a:pt x="364" y="0"/>
                  </a:lnTo>
                  <a:lnTo>
                    <a:pt x="403" y="7"/>
                  </a:lnTo>
                  <a:lnTo>
                    <a:pt x="406" y="0"/>
                  </a:lnTo>
                  <a:lnTo>
                    <a:pt x="415" y="2"/>
                  </a:lnTo>
                  <a:lnTo>
                    <a:pt x="439" y="15"/>
                  </a:lnTo>
                  <a:lnTo>
                    <a:pt x="460" y="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/>
            <a:lstStyle/>
            <a:p>
              <a:pPr algn="ctr"/>
              <a:endParaRPr lang="en-US" sz="800" dirty="0"/>
            </a:p>
          </p:txBody>
        </p:sp>
        <p:sp>
          <p:nvSpPr>
            <p:cNvPr id="12" name="Freeform 196">
              <a:extLst>
                <a:ext uri="{FF2B5EF4-FFF2-40B4-BE49-F238E27FC236}">
                  <a16:creationId xmlns:a16="http://schemas.microsoft.com/office/drawing/2014/main" id="{52B11027-D680-431A-B326-8E4B707B866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1525" y="5173663"/>
              <a:ext cx="331787" cy="434975"/>
            </a:xfrm>
            <a:custGeom>
              <a:avLst/>
              <a:gdLst>
                <a:gd name="T0" fmla="*/ 174 w 209"/>
                <a:gd name="T1" fmla="*/ 41 h 274"/>
                <a:gd name="T2" fmla="*/ 196 w 209"/>
                <a:gd name="T3" fmla="*/ 41 h 274"/>
                <a:gd name="T4" fmla="*/ 188 w 209"/>
                <a:gd name="T5" fmla="*/ 83 h 274"/>
                <a:gd name="T6" fmla="*/ 198 w 209"/>
                <a:gd name="T7" fmla="*/ 100 h 274"/>
                <a:gd name="T8" fmla="*/ 206 w 209"/>
                <a:gd name="T9" fmla="*/ 97 h 274"/>
                <a:gd name="T10" fmla="*/ 208 w 209"/>
                <a:gd name="T11" fmla="*/ 110 h 274"/>
                <a:gd name="T12" fmla="*/ 209 w 209"/>
                <a:gd name="T13" fmla="*/ 119 h 274"/>
                <a:gd name="T14" fmla="*/ 192 w 209"/>
                <a:gd name="T15" fmla="*/ 118 h 274"/>
                <a:gd name="T16" fmla="*/ 195 w 209"/>
                <a:gd name="T17" fmla="*/ 169 h 274"/>
                <a:gd name="T18" fmla="*/ 190 w 209"/>
                <a:gd name="T19" fmla="*/ 207 h 274"/>
                <a:gd name="T20" fmla="*/ 188 w 209"/>
                <a:gd name="T21" fmla="*/ 231 h 274"/>
                <a:gd name="T22" fmla="*/ 180 w 209"/>
                <a:gd name="T23" fmla="*/ 245 h 274"/>
                <a:gd name="T24" fmla="*/ 198 w 209"/>
                <a:gd name="T25" fmla="*/ 261 h 274"/>
                <a:gd name="T26" fmla="*/ 182 w 209"/>
                <a:gd name="T27" fmla="*/ 274 h 274"/>
                <a:gd name="T28" fmla="*/ 161 w 209"/>
                <a:gd name="T29" fmla="*/ 266 h 274"/>
                <a:gd name="T30" fmla="*/ 128 w 209"/>
                <a:gd name="T31" fmla="*/ 255 h 274"/>
                <a:gd name="T32" fmla="*/ 91 w 209"/>
                <a:gd name="T33" fmla="*/ 252 h 274"/>
                <a:gd name="T34" fmla="*/ 72 w 209"/>
                <a:gd name="T35" fmla="*/ 229 h 274"/>
                <a:gd name="T36" fmla="*/ 64 w 209"/>
                <a:gd name="T37" fmla="*/ 207 h 274"/>
                <a:gd name="T38" fmla="*/ 51 w 209"/>
                <a:gd name="T39" fmla="*/ 188 h 274"/>
                <a:gd name="T40" fmla="*/ 43 w 209"/>
                <a:gd name="T41" fmla="*/ 180 h 274"/>
                <a:gd name="T42" fmla="*/ 35 w 209"/>
                <a:gd name="T43" fmla="*/ 169 h 274"/>
                <a:gd name="T44" fmla="*/ 29 w 209"/>
                <a:gd name="T45" fmla="*/ 162 h 274"/>
                <a:gd name="T46" fmla="*/ 24 w 209"/>
                <a:gd name="T47" fmla="*/ 158 h 274"/>
                <a:gd name="T48" fmla="*/ 14 w 209"/>
                <a:gd name="T49" fmla="*/ 156 h 274"/>
                <a:gd name="T50" fmla="*/ 19 w 209"/>
                <a:gd name="T51" fmla="*/ 150 h 274"/>
                <a:gd name="T52" fmla="*/ 26 w 209"/>
                <a:gd name="T53" fmla="*/ 140 h 274"/>
                <a:gd name="T54" fmla="*/ 32 w 209"/>
                <a:gd name="T55" fmla="*/ 139 h 274"/>
                <a:gd name="T56" fmla="*/ 45 w 209"/>
                <a:gd name="T57" fmla="*/ 134 h 274"/>
                <a:gd name="T58" fmla="*/ 54 w 209"/>
                <a:gd name="T59" fmla="*/ 127 h 274"/>
                <a:gd name="T60" fmla="*/ 54 w 209"/>
                <a:gd name="T61" fmla="*/ 105 h 274"/>
                <a:gd name="T62" fmla="*/ 16 w 209"/>
                <a:gd name="T63" fmla="*/ 91 h 274"/>
                <a:gd name="T64" fmla="*/ 5 w 209"/>
                <a:gd name="T65" fmla="*/ 62 h 274"/>
                <a:gd name="T66" fmla="*/ 10 w 209"/>
                <a:gd name="T67" fmla="*/ 35 h 274"/>
                <a:gd name="T68" fmla="*/ 16 w 209"/>
                <a:gd name="T69" fmla="*/ 38 h 274"/>
                <a:gd name="T70" fmla="*/ 18 w 209"/>
                <a:gd name="T71" fmla="*/ 54 h 274"/>
                <a:gd name="T72" fmla="*/ 67 w 209"/>
                <a:gd name="T73" fmla="*/ 36 h 274"/>
                <a:gd name="T74" fmla="*/ 85 w 209"/>
                <a:gd name="T75" fmla="*/ 19 h 274"/>
                <a:gd name="T76" fmla="*/ 120 w 209"/>
                <a:gd name="T77" fmla="*/ 0 h 274"/>
                <a:gd name="T78" fmla="*/ 150 w 209"/>
                <a:gd name="T79" fmla="*/ 33 h 274"/>
                <a:gd name="T80" fmla="*/ 166 w 209"/>
                <a:gd name="T81" fmla="*/ 36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9" h="274">
                  <a:moveTo>
                    <a:pt x="166" y="36"/>
                  </a:moveTo>
                  <a:lnTo>
                    <a:pt x="174" y="41"/>
                  </a:lnTo>
                  <a:lnTo>
                    <a:pt x="188" y="35"/>
                  </a:lnTo>
                  <a:lnTo>
                    <a:pt x="196" y="41"/>
                  </a:lnTo>
                  <a:lnTo>
                    <a:pt x="196" y="52"/>
                  </a:lnTo>
                  <a:lnTo>
                    <a:pt x="188" y="83"/>
                  </a:lnTo>
                  <a:lnTo>
                    <a:pt x="195" y="100"/>
                  </a:lnTo>
                  <a:lnTo>
                    <a:pt x="198" y="100"/>
                  </a:lnTo>
                  <a:lnTo>
                    <a:pt x="200" y="95"/>
                  </a:lnTo>
                  <a:lnTo>
                    <a:pt x="206" y="97"/>
                  </a:lnTo>
                  <a:lnTo>
                    <a:pt x="204" y="108"/>
                  </a:lnTo>
                  <a:lnTo>
                    <a:pt x="208" y="110"/>
                  </a:lnTo>
                  <a:lnTo>
                    <a:pt x="208" y="116"/>
                  </a:lnTo>
                  <a:lnTo>
                    <a:pt x="209" y="119"/>
                  </a:lnTo>
                  <a:lnTo>
                    <a:pt x="203" y="118"/>
                  </a:lnTo>
                  <a:lnTo>
                    <a:pt x="192" y="118"/>
                  </a:lnTo>
                  <a:lnTo>
                    <a:pt x="196" y="150"/>
                  </a:lnTo>
                  <a:lnTo>
                    <a:pt x="195" y="169"/>
                  </a:lnTo>
                  <a:lnTo>
                    <a:pt x="187" y="198"/>
                  </a:lnTo>
                  <a:lnTo>
                    <a:pt x="190" y="207"/>
                  </a:lnTo>
                  <a:lnTo>
                    <a:pt x="185" y="228"/>
                  </a:lnTo>
                  <a:lnTo>
                    <a:pt x="188" y="231"/>
                  </a:lnTo>
                  <a:lnTo>
                    <a:pt x="184" y="233"/>
                  </a:lnTo>
                  <a:lnTo>
                    <a:pt x="180" y="245"/>
                  </a:lnTo>
                  <a:lnTo>
                    <a:pt x="188" y="257"/>
                  </a:lnTo>
                  <a:lnTo>
                    <a:pt x="198" y="261"/>
                  </a:lnTo>
                  <a:lnTo>
                    <a:pt x="190" y="265"/>
                  </a:lnTo>
                  <a:lnTo>
                    <a:pt x="182" y="274"/>
                  </a:lnTo>
                  <a:lnTo>
                    <a:pt x="174" y="273"/>
                  </a:lnTo>
                  <a:lnTo>
                    <a:pt x="161" y="266"/>
                  </a:lnTo>
                  <a:lnTo>
                    <a:pt x="144" y="252"/>
                  </a:lnTo>
                  <a:lnTo>
                    <a:pt x="128" y="255"/>
                  </a:lnTo>
                  <a:lnTo>
                    <a:pt x="101" y="255"/>
                  </a:lnTo>
                  <a:lnTo>
                    <a:pt x="91" y="252"/>
                  </a:lnTo>
                  <a:lnTo>
                    <a:pt x="81" y="245"/>
                  </a:lnTo>
                  <a:lnTo>
                    <a:pt x="72" y="229"/>
                  </a:lnTo>
                  <a:lnTo>
                    <a:pt x="69" y="212"/>
                  </a:lnTo>
                  <a:lnTo>
                    <a:pt x="64" y="207"/>
                  </a:lnTo>
                  <a:lnTo>
                    <a:pt x="53" y="204"/>
                  </a:lnTo>
                  <a:lnTo>
                    <a:pt x="51" y="188"/>
                  </a:lnTo>
                  <a:lnTo>
                    <a:pt x="45" y="180"/>
                  </a:lnTo>
                  <a:lnTo>
                    <a:pt x="43" y="180"/>
                  </a:lnTo>
                  <a:lnTo>
                    <a:pt x="43" y="175"/>
                  </a:lnTo>
                  <a:lnTo>
                    <a:pt x="35" y="169"/>
                  </a:lnTo>
                  <a:lnTo>
                    <a:pt x="34" y="164"/>
                  </a:lnTo>
                  <a:lnTo>
                    <a:pt x="29" y="162"/>
                  </a:lnTo>
                  <a:lnTo>
                    <a:pt x="30" y="159"/>
                  </a:lnTo>
                  <a:lnTo>
                    <a:pt x="24" y="158"/>
                  </a:lnTo>
                  <a:lnTo>
                    <a:pt x="19" y="154"/>
                  </a:lnTo>
                  <a:lnTo>
                    <a:pt x="14" y="156"/>
                  </a:lnTo>
                  <a:lnTo>
                    <a:pt x="11" y="150"/>
                  </a:lnTo>
                  <a:lnTo>
                    <a:pt x="19" y="150"/>
                  </a:lnTo>
                  <a:lnTo>
                    <a:pt x="26" y="146"/>
                  </a:lnTo>
                  <a:lnTo>
                    <a:pt x="26" y="140"/>
                  </a:lnTo>
                  <a:lnTo>
                    <a:pt x="29" y="142"/>
                  </a:lnTo>
                  <a:lnTo>
                    <a:pt x="32" y="139"/>
                  </a:lnTo>
                  <a:lnTo>
                    <a:pt x="35" y="140"/>
                  </a:lnTo>
                  <a:lnTo>
                    <a:pt x="45" y="134"/>
                  </a:lnTo>
                  <a:lnTo>
                    <a:pt x="53" y="131"/>
                  </a:lnTo>
                  <a:lnTo>
                    <a:pt x="54" y="127"/>
                  </a:lnTo>
                  <a:lnTo>
                    <a:pt x="51" y="116"/>
                  </a:lnTo>
                  <a:lnTo>
                    <a:pt x="54" y="105"/>
                  </a:lnTo>
                  <a:lnTo>
                    <a:pt x="37" y="102"/>
                  </a:lnTo>
                  <a:lnTo>
                    <a:pt x="16" y="91"/>
                  </a:lnTo>
                  <a:lnTo>
                    <a:pt x="0" y="89"/>
                  </a:lnTo>
                  <a:lnTo>
                    <a:pt x="5" y="62"/>
                  </a:lnTo>
                  <a:lnTo>
                    <a:pt x="3" y="44"/>
                  </a:lnTo>
                  <a:lnTo>
                    <a:pt x="10" y="35"/>
                  </a:lnTo>
                  <a:lnTo>
                    <a:pt x="11" y="33"/>
                  </a:lnTo>
                  <a:lnTo>
                    <a:pt x="16" y="38"/>
                  </a:lnTo>
                  <a:lnTo>
                    <a:pt x="14" y="51"/>
                  </a:lnTo>
                  <a:lnTo>
                    <a:pt x="18" y="54"/>
                  </a:lnTo>
                  <a:lnTo>
                    <a:pt x="34" y="51"/>
                  </a:lnTo>
                  <a:lnTo>
                    <a:pt x="67" y="36"/>
                  </a:lnTo>
                  <a:lnTo>
                    <a:pt x="77" y="30"/>
                  </a:lnTo>
                  <a:lnTo>
                    <a:pt x="85" y="19"/>
                  </a:lnTo>
                  <a:lnTo>
                    <a:pt x="110" y="3"/>
                  </a:lnTo>
                  <a:lnTo>
                    <a:pt x="120" y="0"/>
                  </a:lnTo>
                  <a:lnTo>
                    <a:pt x="131" y="4"/>
                  </a:lnTo>
                  <a:lnTo>
                    <a:pt x="150" y="33"/>
                  </a:lnTo>
                  <a:lnTo>
                    <a:pt x="160" y="38"/>
                  </a:lnTo>
                  <a:lnTo>
                    <a:pt x="166" y="3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/>
            <a:lstStyle/>
            <a:p>
              <a:pPr algn="ctr"/>
              <a:endParaRPr lang="en-US" sz="800" dirty="0"/>
            </a:p>
          </p:txBody>
        </p:sp>
        <p:sp>
          <p:nvSpPr>
            <p:cNvPr id="13" name="Freeform 197">
              <a:extLst>
                <a:ext uri="{FF2B5EF4-FFF2-40B4-BE49-F238E27FC236}">
                  <a16:creationId xmlns:a16="http://schemas.microsoft.com/office/drawing/2014/main" id="{EEE1C5B5-B9FD-4D3A-926A-1259AB25970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0325" y="4999038"/>
              <a:ext cx="633412" cy="669925"/>
            </a:xfrm>
            <a:custGeom>
              <a:avLst/>
              <a:gdLst>
                <a:gd name="T0" fmla="*/ 368 w 399"/>
                <a:gd name="T1" fmla="*/ 253 h 422"/>
                <a:gd name="T2" fmla="*/ 360 w 399"/>
                <a:gd name="T3" fmla="*/ 258 h 422"/>
                <a:gd name="T4" fmla="*/ 332 w 399"/>
                <a:gd name="T5" fmla="*/ 280 h 422"/>
                <a:gd name="T6" fmla="*/ 303 w 399"/>
                <a:gd name="T7" fmla="*/ 285 h 422"/>
                <a:gd name="T8" fmla="*/ 281 w 399"/>
                <a:gd name="T9" fmla="*/ 288 h 422"/>
                <a:gd name="T10" fmla="*/ 258 w 399"/>
                <a:gd name="T11" fmla="*/ 308 h 422"/>
                <a:gd name="T12" fmla="*/ 292 w 399"/>
                <a:gd name="T13" fmla="*/ 371 h 422"/>
                <a:gd name="T14" fmla="*/ 276 w 399"/>
                <a:gd name="T15" fmla="*/ 389 h 422"/>
                <a:gd name="T16" fmla="*/ 255 w 399"/>
                <a:gd name="T17" fmla="*/ 410 h 422"/>
                <a:gd name="T18" fmla="*/ 233 w 399"/>
                <a:gd name="T19" fmla="*/ 416 h 422"/>
                <a:gd name="T20" fmla="*/ 220 w 399"/>
                <a:gd name="T21" fmla="*/ 422 h 422"/>
                <a:gd name="T22" fmla="*/ 198 w 399"/>
                <a:gd name="T23" fmla="*/ 383 h 422"/>
                <a:gd name="T24" fmla="*/ 158 w 399"/>
                <a:gd name="T25" fmla="*/ 354 h 422"/>
                <a:gd name="T26" fmla="*/ 131 w 399"/>
                <a:gd name="T27" fmla="*/ 365 h 422"/>
                <a:gd name="T28" fmla="*/ 123 w 399"/>
                <a:gd name="T29" fmla="*/ 362 h 422"/>
                <a:gd name="T30" fmla="*/ 103 w 399"/>
                <a:gd name="T31" fmla="*/ 359 h 422"/>
                <a:gd name="T32" fmla="*/ 97 w 399"/>
                <a:gd name="T33" fmla="*/ 362 h 422"/>
                <a:gd name="T34" fmla="*/ 71 w 399"/>
                <a:gd name="T35" fmla="*/ 367 h 422"/>
                <a:gd name="T36" fmla="*/ 65 w 399"/>
                <a:gd name="T37" fmla="*/ 381 h 422"/>
                <a:gd name="T38" fmla="*/ 59 w 399"/>
                <a:gd name="T39" fmla="*/ 349 h 422"/>
                <a:gd name="T40" fmla="*/ 46 w 399"/>
                <a:gd name="T41" fmla="*/ 330 h 422"/>
                <a:gd name="T42" fmla="*/ 35 w 399"/>
                <a:gd name="T43" fmla="*/ 323 h 422"/>
                <a:gd name="T44" fmla="*/ 27 w 399"/>
                <a:gd name="T45" fmla="*/ 323 h 422"/>
                <a:gd name="T46" fmla="*/ 22 w 399"/>
                <a:gd name="T47" fmla="*/ 316 h 422"/>
                <a:gd name="T48" fmla="*/ 14 w 399"/>
                <a:gd name="T49" fmla="*/ 311 h 422"/>
                <a:gd name="T50" fmla="*/ 6 w 399"/>
                <a:gd name="T51" fmla="*/ 298 h 422"/>
                <a:gd name="T52" fmla="*/ 3 w 399"/>
                <a:gd name="T53" fmla="*/ 277 h 422"/>
                <a:gd name="T54" fmla="*/ 14 w 399"/>
                <a:gd name="T55" fmla="*/ 274 h 422"/>
                <a:gd name="T56" fmla="*/ 20 w 399"/>
                <a:gd name="T57" fmla="*/ 258 h 422"/>
                <a:gd name="T58" fmla="*/ 30 w 399"/>
                <a:gd name="T59" fmla="*/ 231 h 422"/>
                <a:gd name="T60" fmla="*/ 27 w 399"/>
                <a:gd name="T61" fmla="*/ 212 h 422"/>
                <a:gd name="T62" fmla="*/ 25 w 399"/>
                <a:gd name="T63" fmla="*/ 201 h 422"/>
                <a:gd name="T64" fmla="*/ 54 w 399"/>
                <a:gd name="T65" fmla="*/ 154 h 422"/>
                <a:gd name="T66" fmla="*/ 132 w 399"/>
                <a:gd name="T67" fmla="*/ 158 h 422"/>
                <a:gd name="T68" fmla="*/ 123 w 399"/>
                <a:gd name="T69" fmla="*/ 170 h 422"/>
                <a:gd name="T70" fmla="*/ 132 w 399"/>
                <a:gd name="T71" fmla="*/ 185 h 422"/>
                <a:gd name="T72" fmla="*/ 145 w 399"/>
                <a:gd name="T73" fmla="*/ 185 h 422"/>
                <a:gd name="T74" fmla="*/ 156 w 399"/>
                <a:gd name="T75" fmla="*/ 185 h 422"/>
                <a:gd name="T76" fmla="*/ 182 w 399"/>
                <a:gd name="T77" fmla="*/ 175 h 422"/>
                <a:gd name="T78" fmla="*/ 185 w 399"/>
                <a:gd name="T79" fmla="*/ 161 h 422"/>
                <a:gd name="T80" fmla="*/ 183 w 399"/>
                <a:gd name="T81" fmla="*/ 146 h 422"/>
                <a:gd name="T82" fmla="*/ 183 w 399"/>
                <a:gd name="T83" fmla="*/ 124 h 422"/>
                <a:gd name="T84" fmla="*/ 194 w 399"/>
                <a:gd name="T85" fmla="*/ 102 h 422"/>
                <a:gd name="T86" fmla="*/ 207 w 399"/>
                <a:gd name="T87" fmla="*/ 86 h 422"/>
                <a:gd name="T88" fmla="*/ 207 w 399"/>
                <a:gd name="T89" fmla="*/ 68 h 422"/>
                <a:gd name="T90" fmla="*/ 228 w 399"/>
                <a:gd name="T91" fmla="*/ 47 h 422"/>
                <a:gd name="T92" fmla="*/ 228 w 399"/>
                <a:gd name="T93" fmla="*/ 35 h 422"/>
                <a:gd name="T94" fmla="*/ 223 w 399"/>
                <a:gd name="T95" fmla="*/ 20 h 422"/>
                <a:gd name="T96" fmla="*/ 225 w 399"/>
                <a:gd name="T97" fmla="*/ 4 h 422"/>
                <a:gd name="T98" fmla="*/ 234 w 399"/>
                <a:gd name="T99" fmla="*/ 0 h 422"/>
                <a:gd name="T100" fmla="*/ 257 w 399"/>
                <a:gd name="T101" fmla="*/ 11 h 422"/>
                <a:gd name="T102" fmla="*/ 269 w 399"/>
                <a:gd name="T103" fmla="*/ 49 h 422"/>
                <a:gd name="T104" fmla="*/ 311 w 399"/>
                <a:gd name="T105" fmla="*/ 46 h 422"/>
                <a:gd name="T106" fmla="*/ 348 w 399"/>
                <a:gd name="T107" fmla="*/ 59 h 422"/>
                <a:gd name="T108" fmla="*/ 389 w 399"/>
                <a:gd name="T109" fmla="*/ 60 h 422"/>
                <a:gd name="T110" fmla="*/ 399 w 399"/>
                <a:gd name="T111" fmla="*/ 99 h 422"/>
                <a:gd name="T112" fmla="*/ 394 w 399"/>
                <a:gd name="T113" fmla="*/ 132 h 422"/>
                <a:gd name="T114" fmla="*/ 381 w 399"/>
                <a:gd name="T115" fmla="*/ 156 h 422"/>
                <a:gd name="T116" fmla="*/ 376 w 399"/>
                <a:gd name="T117" fmla="*/ 193 h 422"/>
                <a:gd name="T118" fmla="*/ 384 w 399"/>
                <a:gd name="T119" fmla="*/ 209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9" h="422">
                  <a:moveTo>
                    <a:pt x="386" y="226"/>
                  </a:moveTo>
                  <a:lnTo>
                    <a:pt x="389" y="252"/>
                  </a:lnTo>
                  <a:lnTo>
                    <a:pt x="368" y="253"/>
                  </a:lnTo>
                  <a:lnTo>
                    <a:pt x="367" y="256"/>
                  </a:lnTo>
                  <a:lnTo>
                    <a:pt x="363" y="256"/>
                  </a:lnTo>
                  <a:lnTo>
                    <a:pt x="360" y="258"/>
                  </a:lnTo>
                  <a:lnTo>
                    <a:pt x="359" y="269"/>
                  </a:lnTo>
                  <a:lnTo>
                    <a:pt x="351" y="274"/>
                  </a:lnTo>
                  <a:lnTo>
                    <a:pt x="332" y="280"/>
                  </a:lnTo>
                  <a:lnTo>
                    <a:pt x="316" y="282"/>
                  </a:lnTo>
                  <a:lnTo>
                    <a:pt x="311" y="287"/>
                  </a:lnTo>
                  <a:lnTo>
                    <a:pt x="303" y="285"/>
                  </a:lnTo>
                  <a:lnTo>
                    <a:pt x="290" y="300"/>
                  </a:lnTo>
                  <a:lnTo>
                    <a:pt x="281" y="296"/>
                  </a:lnTo>
                  <a:lnTo>
                    <a:pt x="281" y="288"/>
                  </a:lnTo>
                  <a:lnTo>
                    <a:pt x="271" y="285"/>
                  </a:lnTo>
                  <a:lnTo>
                    <a:pt x="260" y="295"/>
                  </a:lnTo>
                  <a:lnTo>
                    <a:pt x="258" y="308"/>
                  </a:lnTo>
                  <a:lnTo>
                    <a:pt x="260" y="330"/>
                  </a:lnTo>
                  <a:lnTo>
                    <a:pt x="288" y="365"/>
                  </a:lnTo>
                  <a:lnTo>
                    <a:pt x="292" y="371"/>
                  </a:lnTo>
                  <a:lnTo>
                    <a:pt x="285" y="376"/>
                  </a:lnTo>
                  <a:lnTo>
                    <a:pt x="279" y="389"/>
                  </a:lnTo>
                  <a:lnTo>
                    <a:pt x="276" y="389"/>
                  </a:lnTo>
                  <a:lnTo>
                    <a:pt x="273" y="394"/>
                  </a:lnTo>
                  <a:lnTo>
                    <a:pt x="255" y="405"/>
                  </a:lnTo>
                  <a:lnTo>
                    <a:pt x="255" y="410"/>
                  </a:lnTo>
                  <a:lnTo>
                    <a:pt x="249" y="410"/>
                  </a:lnTo>
                  <a:lnTo>
                    <a:pt x="245" y="416"/>
                  </a:lnTo>
                  <a:lnTo>
                    <a:pt x="233" y="416"/>
                  </a:lnTo>
                  <a:lnTo>
                    <a:pt x="225" y="422"/>
                  </a:lnTo>
                  <a:lnTo>
                    <a:pt x="223" y="419"/>
                  </a:lnTo>
                  <a:lnTo>
                    <a:pt x="220" y="422"/>
                  </a:lnTo>
                  <a:lnTo>
                    <a:pt x="212" y="416"/>
                  </a:lnTo>
                  <a:lnTo>
                    <a:pt x="212" y="390"/>
                  </a:lnTo>
                  <a:lnTo>
                    <a:pt x="198" y="383"/>
                  </a:lnTo>
                  <a:lnTo>
                    <a:pt x="185" y="367"/>
                  </a:lnTo>
                  <a:lnTo>
                    <a:pt x="172" y="359"/>
                  </a:lnTo>
                  <a:lnTo>
                    <a:pt x="158" y="354"/>
                  </a:lnTo>
                  <a:lnTo>
                    <a:pt x="143" y="354"/>
                  </a:lnTo>
                  <a:lnTo>
                    <a:pt x="132" y="359"/>
                  </a:lnTo>
                  <a:lnTo>
                    <a:pt x="131" y="365"/>
                  </a:lnTo>
                  <a:lnTo>
                    <a:pt x="123" y="368"/>
                  </a:lnTo>
                  <a:lnTo>
                    <a:pt x="121" y="365"/>
                  </a:lnTo>
                  <a:lnTo>
                    <a:pt x="123" y="362"/>
                  </a:lnTo>
                  <a:lnTo>
                    <a:pt x="113" y="354"/>
                  </a:lnTo>
                  <a:lnTo>
                    <a:pt x="111" y="357"/>
                  </a:lnTo>
                  <a:lnTo>
                    <a:pt x="103" y="359"/>
                  </a:lnTo>
                  <a:lnTo>
                    <a:pt x="100" y="354"/>
                  </a:lnTo>
                  <a:lnTo>
                    <a:pt x="97" y="357"/>
                  </a:lnTo>
                  <a:lnTo>
                    <a:pt x="97" y="362"/>
                  </a:lnTo>
                  <a:lnTo>
                    <a:pt x="91" y="359"/>
                  </a:lnTo>
                  <a:lnTo>
                    <a:pt x="73" y="359"/>
                  </a:lnTo>
                  <a:lnTo>
                    <a:pt x="71" y="367"/>
                  </a:lnTo>
                  <a:lnTo>
                    <a:pt x="76" y="367"/>
                  </a:lnTo>
                  <a:lnTo>
                    <a:pt x="78" y="370"/>
                  </a:lnTo>
                  <a:lnTo>
                    <a:pt x="65" y="381"/>
                  </a:lnTo>
                  <a:lnTo>
                    <a:pt x="60" y="383"/>
                  </a:lnTo>
                  <a:lnTo>
                    <a:pt x="54" y="367"/>
                  </a:lnTo>
                  <a:lnTo>
                    <a:pt x="59" y="349"/>
                  </a:lnTo>
                  <a:lnTo>
                    <a:pt x="51" y="347"/>
                  </a:lnTo>
                  <a:lnTo>
                    <a:pt x="51" y="333"/>
                  </a:lnTo>
                  <a:lnTo>
                    <a:pt x="46" y="330"/>
                  </a:lnTo>
                  <a:lnTo>
                    <a:pt x="48" y="328"/>
                  </a:lnTo>
                  <a:lnTo>
                    <a:pt x="38" y="327"/>
                  </a:lnTo>
                  <a:lnTo>
                    <a:pt x="35" y="323"/>
                  </a:lnTo>
                  <a:lnTo>
                    <a:pt x="33" y="328"/>
                  </a:lnTo>
                  <a:lnTo>
                    <a:pt x="30" y="328"/>
                  </a:lnTo>
                  <a:lnTo>
                    <a:pt x="27" y="323"/>
                  </a:lnTo>
                  <a:lnTo>
                    <a:pt x="28" y="319"/>
                  </a:lnTo>
                  <a:lnTo>
                    <a:pt x="25" y="314"/>
                  </a:lnTo>
                  <a:lnTo>
                    <a:pt x="22" y="316"/>
                  </a:lnTo>
                  <a:lnTo>
                    <a:pt x="17" y="316"/>
                  </a:lnTo>
                  <a:lnTo>
                    <a:pt x="16" y="311"/>
                  </a:lnTo>
                  <a:lnTo>
                    <a:pt x="14" y="311"/>
                  </a:lnTo>
                  <a:lnTo>
                    <a:pt x="12" y="306"/>
                  </a:lnTo>
                  <a:lnTo>
                    <a:pt x="8" y="304"/>
                  </a:lnTo>
                  <a:lnTo>
                    <a:pt x="6" y="298"/>
                  </a:lnTo>
                  <a:lnTo>
                    <a:pt x="0" y="293"/>
                  </a:lnTo>
                  <a:lnTo>
                    <a:pt x="4" y="285"/>
                  </a:lnTo>
                  <a:lnTo>
                    <a:pt x="3" y="277"/>
                  </a:lnTo>
                  <a:lnTo>
                    <a:pt x="8" y="277"/>
                  </a:lnTo>
                  <a:lnTo>
                    <a:pt x="8" y="272"/>
                  </a:lnTo>
                  <a:lnTo>
                    <a:pt x="14" y="274"/>
                  </a:lnTo>
                  <a:lnTo>
                    <a:pt x="20" y="269"/>
                  </a:lnTo>
                  <a:lnTo>
                    <a:pt x="22" y="266"/>
                  </a:lnTo>
                  <a:lnTo>
                    <a:pt x="20" y="258"/>
                  </a:lnTo>
                  <a:lnTo>
                    <a:pt x="33" y="245"/>
                  </a:lnTo>
                  <a:lnTo>
                    <a:pt x="35" y="234"/>
                  </a:lnTo>
                  <a:lnTo>
                    <a:pt x="30" y="231"/>
                  </a:lnTo>
                  <a:lnTo>
                    <a:pt x="27" y="225"/>
                  </a:lnTo>
                  <a:lnTo>
                    <a:pt x="25" y="215"/>
                  </a:lnTo>
                  <a:lnTo>
                    <a:pt x="27" y="212"/>
                  </a:lnTo>
                  <a:lnTo>
                    <a:pt x="22" y="207"/>
                  </a:lnTo>
                  <a:lnTo>
                    <a:pt x="27" y="205"/>
                  </a:lnTo>
                  <a:lnTo>
                    <a:pt x="25" y="201"/>
                  </a:lnTo>
                  <a:lnTo>
                    <a:pt x="28" y="189"/>
                  </a:lnTo>
                  <a:lnTo>
                    <a:pt x="43" y="174"/>
                  </a:lnTo>
                  <a:lnTo>
                    <a:pt x="54" y="154"/>
                  </a:lnTo>
                  <a:lnTo>
                    <a:pt x="89" y="148"/>
                  </a:lnTo>
                  <a:lnTo>
                    <a:pt x="131" y="154"/>
                  </a:lnTo>
                  <a:lnTo>
                    <a:pt x="132" y="158"/>
                  </a:lnTo>
                  <a:lnTo>
                    <a:pt x="131" y="166"/>
                  </a:lnTo>
                  <a:lnTo>
                    <a:pt x="127" y="164"/>
                  </a:lnTo>
                  <a:lnTo>
                    <a:pt x="123" y="170"/>
                  </a:lnTo>
                  <a:lnTo>
                    <a:pt x="124" y="170"/>
                  </a:lnTo>
                  <a:lnTo>
                    <a:pt x="124" y="174"/>
                  </a:lnTo>
                  <a:lnTo>
                    <a:pt x="132" y="185"/>
                  </a:lnTo>
                  <a:lnTo>
                    <a:pt x="132" y="194"/>
                  </a:lnTo>
                  <a:lnTo>
                    <a:pt x="140" y="185"/>
                  </a:lnTo>
                  <a:lnTo>
                    <a:pt x="145" y="185"/>
                  </a:lnTo>
                  <a:lnTo>
                    <a:pt x="146" y="178"/>
                  </a:lnTo>
                  <a:lnTo>
                    <a:pt x="151" y="178"/>
                  </a:lnTo>
                  <a:lnTo>
                    <a:pt x="156" y="185"/>
                  </a:lnTo>
                  <a:lnTo>
                    <a:pt x="166" y="186"/>
                  </a:lnTo>
                  <a:lnTo>
                    <a:pt x="174" y="175"/>
                  </a:lnTo>
                  <a:lnTo>
                    <a:pt x="182" y="175"/>
                  </a:lnTo>
                  <a:lnTo>
                    <a:pt x="183" y="170"/>
                  </a:lnTo>
                  <a:lnTo>
                    <a:pt x="186" y="170"/>
                  </a:lnTo>
                  <a:lnTo>
                    <a:pt x="185" y="161"/>
                  </a:lnTo>
                  <a:lnTo>
                    <a:pt x="186" y="156"/>
                  </a:lnTo>
                  <a:lnTo>
                    <a:pt x="185" y="148"/>
                  </a:lnTo>
                  <a:lnTo>
                    <a:pt x="183" y="146"/>
                  </a:lnTo>
                  <a:lnTo>
                    <a:pt x="188" y="145"/>
                  </a:lnTo>
                  <a:lnTo>
                    <a:pt x="183" y="137"/>
                  </a:lnTo>
                  <a:lnTo>
                    <a:pt x="183" y="124"/>
                  </a:lnTo>
                  <a:lnTo>
                    <a:pt x="188" y="111"/>
                  </a:lnTo>
                  <a:lnTo>
                    <a:pt x="198" y="107"/>
                  </a:lnTo>
                  <a:lnTo>
                    <a:pt x="194" y="102"/>
                  </a:lnTo>
                  <a:lnTo>
                    <a:pt x="199" y="99"/>
                  </a:lnTo>
                  <a:lnTo>
                    <a:pt x="204" y="89"/>
                  </a:lnTo>
                  <a:lnTo>
                    <a:pt x="207" y="86"/>
                  </a:lnTo>
                  <a:lnTo>
                    <a:pt x="204" y="84"/>
                  </a:lnTo>
                  <a:lnTo>
                    <a:pt x="210" y="78"/>
                  </a:lnTo>
                  <a:lnTo>
                    <a:pt x="207" y="68"/>
                  </a:lnTo>
                  <a:lnTo>
                    <a:pt x="215" y="59"/>
                  </a:lnTo>
                  <a:lnTo>
                    <a:pt x="213" y="51"/>
                  </a:lnTo>
                  <a:lnTo>
                    <a:pt x="228" y="47"/>
                  </a:lnTo>
                  <a:lnTo>
                    <a:pt x="229" y="46"/>
                  </a:lnTo>
                  <a:lnTo>
                    <a:pt x="226" y="38"/>
                  </a:lnTo>
                  <a:lnTo>
                    <a:pt x="228" y="35"/>
                  </a:lnTo>
                  <a:lnTo>
                    <a:pt x="225" y="32"/>
                  </a:lnTo>
                  <a:lnTo>
                    <a:pt x="229" y="22"/>
                  </a:lnTo>
                  <a:lnTo>
                    <a:pt x="223" y="20"/>
                  </a:lnTo>
                  <a:lnTo>
                    <a:pt x="218" y="14"/>
                  </a:lnTo>
                  <a:lnTo>
                    <a:pt x="220" y="6"/>
                  </a:lnTo>
                  <a:lnTo>
                    <a:pt x="225" y="4"/>
                  </a:lnTo>
                  <a:lnTo>
                    <a:pt x="233" y="4"/>
                  </a:lnTo>
                  <a:lnTo>
                    <a:pt x="231" y="1"/>
                  </a:lnTo>
                  <a:lnTo>
                    <a:pt x="234" y="0"/>
                  </a:lnTo>
                  <a:lnTo>
                    <a:pt x="252" y="0"/>
                  </a:lnTo>
                  <a:lnTo>
                    <a:pt x="255" y="3"/>
                  </a:lnTo>
                  <a:lnTo>
                    <a:pt x="257" y="11"/>
                  </a:lnTo>
                  <a:lnTo>
                    <a:pt x="255" y="19"/>
                  </a:lnTo>
                  <a:lnTo>
                    <a:pt x="255" y="27"/>
                  </a:lnTo>
                  <a:lnTo>
                    <a:pt x="269" y="49"/>
                  </a:lnTo>
                  <a:lnTo>
                    <a:pt x="276" y="55"/>
                  </a:lnTo>
                  <a:lnTo>
                    <a:pt x="292" y="54"/>
                  </a:lnTo>
                  <a:lnTo>
                    <a:pt x="311" y="46"/>
                  </a:lnTo>
                  <a:lnTo>
                    <a:pt x="322" y="57"/>
                  </a:lnTo>
                  <a:lnTo>
                    <a:pt x="324" y="62"/>
                  </a:lnTo>
                  <a:lnTo>
                    <a:pt x="348" y="59"/>
                  </a:lnTo>
                  <a:lnTo>
                    <a:pt x="360" y="73"/>
                  </a:lnTo>
                  <a:lnTo>
                    <a:pt x="379" y="60"/>
                  </a:lnTo>
                  <a:lnTo>
                    <a:pt x="389" y="60"/>
                  </a:lnTo>
                  <a:lnTo>
                    <a:pt x="395" y="73"/>
                  </a:lnTo>
                  <a:lnTo>
                    <a:pt x="394" y="81"/>
                  </a:lnTo>
                  <a:lnTo>
                    <a:pt x="399" y="99"/>
                  </a:lnTo>
                  <a:lnTo>
                    <a:pt x="391" y="110"/>
                  </a:lnTo>
                  <a:lnTo>
                    <a:pt x="389" y="126"/>
                  </a:lnTo>
                  <a:lnTo>
                    <a:pt x="394" y="132"/>
                  </a:lnTo>
                  <a:lnTo>
                    <a:pt x="394" y="137"/>
                  </a:lnTo>
                  <a:lnTo>
                    <a:pt x="387" y="151"/>
                  </a:lnTo>
                  <a:lnTo>
                    <a:pt x="381" y="156"/>
                  </a:lnTo>
                  <a:lnTo>
                    <a:pt x="375" y="170"/>
                  </a:lnTo>
                  <a:lnTo>
                    <a:pt x="379" y="180"/>
                  </a:lnTo>
                  <a:lnTo>
                    <a:pt x="376" y="193"/>
                  </a:lnTo>
                  <a:lnTo>
                    <a:pt x="379" y="196"/>
                  </a:lnTo>
                  <a:lnTo>
                    <a:pt x="379" y="204"/>
                  </a:lnTo>
                  <a:lnTo>
                    <a:pt x="384" y="209"/>
                  </a:lnTo>
                  <a:lnTo>
                    <a:pt x="386" y="22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/>
            <a:lstStyle/>
            <a:p>
              <a:pPr algn="ctr"/>
              <a:endParaRPr lang="en-US" sz="800" dirty="0"/>
            </a:p>
          </p:txBody>
        </p:sp>
        <p:sp>
          <p:nvSpPr>
            <p:cNvPr id="14" name="Freeform 198">
              <a:extLst>
                <a:ext uri="{FF2B5EF4-FFF2-40B4-BE49-F238E27FC236}">
                  <a16:creationId xmlns:a16="http://schemas.microsoft.com/office/drawing/2014/main" id="{FF69CE96-6A3E-410C-B0B1-77B7C4EB3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4588" y="5205413"/>
              <a:ext cx="577850" cy="857250"/>
            </a:xfrm>
            <a:custGeom>
              <a:avLst/>
              <a:gdLst>
                <a:gd name="T0" fmla="*/ 328 w 364"/>
                <a:gd name="T1" fmla="*/ 163 h 540"/>
                <a:gd name="T2" fmla="*/ 285 w 364"/>
                <a:gd name="T3" fmla="*/ 209 h 540"/>
                <a:gd name="T4" fmla="*/ 223 w 364"/>
                <a:gd name="T5" fmla="*/ 265 h 540"/>
                <a:gd name="T6" fmla="*/ 223 w 364"/>
                <a:gd name="T7" fmla="*/ 284 h 540"/>
                <a:gd name="T8" fmla="*/ 214 w 364"/>
                <a:gd name="T9" fmla="*/ 302 h 540"/>
                <a:gd name="T10" fmla="*/ 226 w 364"/>
                <a:gd name="T11" fmla="*/ 329 h 540"/>
                <a:gd name="T12" fmla="*/ 206 w 364"/>
                <a:gd name="T13" fmla="*/ 409 h 540"/>
                <a:gd name="T14" fmla="*/ 186 w 364"/>
                <a:gd name="T15" fmla="*/ 449 h 540"/>
                <a:gd name="T16" fmla="*/ 175 w 364"/>
                <a:gd name="T17" fmla="*/ 471 h 540"/>
                <a:gd name="T18" fmla="*/ 161 w 364"/>
                <a:gd name="T19" fmla="*/ 489 h 540"/>
                <a:gd name="T20" fmla="*/ 154 w 364"/>
                <a:gd name="T21" fmla="*/ 513 h 540"/>
                <a:gd name="T22" fmla="*/ 140 w 364"/>
                <a:gd name="T23" fmla="*/ 535 h 540"/>
                <a:gd name="T24" fmla="*/ 123 w 364"/>
                <a:gd name="T25" fmla="*/ 538 h 540"/>
                <a:gd name="T26" fmla="*/ 129 w 364"/>
                <a:gd name="T27" fmla="*/ 530 h 540"/>
                <a:gd name="T28" fmla="*/ 115 w 364"/>
                <a:gd name="T29" fmla="*/ 530 h 540"/>
                <a:gd name="T30" fmla="*/ 108 w 364"/>
                <a:gd name="T31" fmla="*/ 519 h 540"/>
                <a:gd name="T32" fmla="*/ 100 w 364"/>
                <a:gd name="T33" fmla="*/ 479 h 540"/>
                <a:gd name="T34" fmla="*/ 107 w 364"/>
                <a:gd name="T35" fmla="*/ 473 h 540"/>
                <a:gd name="T36" fmla="*/ 99 w 364"/>
                <a:gd name="T37" fmla="*/ 479 h 540"/>
                <a:gd name="T38" fmla="*/ 103 w 364"/>
                <a:gd name="T39" fmla="*/ 519 h 540"/>
                <a:gd name="T40" fmla="*/ 97 w 364"/>
                <a:gd name="T41" fmla="*/ 509 h 540"/>
                <a:gd name="T42" fmla="*/ 91 w 364"/>
                <a:gd name="T43" fmla="*/ 500 h 540"/>
                <a:gd name="T44" fmla="*/ 86 w 364"/>
                <a:gd name="T45" fmla="*/ 469 h 540"/>
                <a:gd name="T46" fmla="*/ 75 w 364"/>
                <a:gd name="T47" fmla="*/ 447 h 540"/>
                <a:gd name="T48" fmla="*/ 81 w 364"/>
                <a:gd name="T49" fmla="*/ 433 h 540"/>
                <a:gd name="T50" fmla="*/ 75 w 364"/>
                <a:gd name="T51" fmla="*/ 433 h 540"/>
                <a:gd name="T52" fmla="*/ 86 w 364"/>
                <a:gd name="T53" fmla="*/ 454 h 540"/>
                <a:gd name="T54" fmla="*/ 91 w 364"/>
                <a:gd name="T55" fmla="*/ 471 h 540"/>
                <a:gd name="T56" fmla="*/ 65 w 364"/>
                <a:gd name="T57" fmla="*/ 469 h 540"/>
                <a:gd name="T58" fmla="*/ 54 w 364"/>
                <a:gd name="T59" fmla="*/ 454 h 540"/>
                <a:gd name="T60" fmla="*/ 35 w 364"/>
                <a:gd name="T61" fmla="*/ 436 h 540"/>
                <a:gd name="T62" fmla="*/ 57 w 364"/>
                <a:gd name="T63" fmla="*/ 316 h 540"/>
                <a:gd name="T64" fmla="*/ 24 w 364"/>
                <a:gd name="T65" fmla="*/ 281 h 540"/>
                <a:gd name="T66" fmla="*/ 12 w 364"/>
                <a:gd name="T67" fmla="*/ 259 h 540"/>
                <a:gd name="T68" fmla="*/ 30 w 364"/>
                <a:gd name="T69" fmla="*/ 254 h 540"/>
                <a:gd name="T70" fmla="*/ 65 w 364"/>
                <a:gd name="T71" fmla="*/ 229 h 540"/>
                <a:gd name="T72" fmla="*/ 86 w 364"/>
                <a:gd name="T73" fmla="*/ 216 h 540"/>
                <a:gd name="T74" fmla="*/ 108 w 364"/>
                <a:gd name="T75" fmla="*/ 200 h 540"/>
                <a:gd name="T76" fmla="*/ 119 w 364"/>
                <a:gd name="T77" fmla="*/ 178 h 540"/>
                <a:gd name="T78" fmla="*/ 129 w 364"/>
                <a:gd name="T79" fmla="*/ 165 h 540"/>
                <a:gd name="T80" fmla="*/ 135 w 364"/>
                <a:gd name="T81" fmla="*/ 149 h 540"/>
                <a:gd name="T82" fmla="*/ 124 w 364"/>
                <a:gd name="T83" fmla="*/ 142 h 540"/>
                <a:gd name="T84" fmla="*/ 116 w 364"/>
                <a:gd name="T85" fmla="*/ 130 h 540"/>
                <a:gd name="T86" fmla="*/ 113 w 364"/>
                <a:gd name="T87" fmla="*/ 111 h 540"/>
                <a:gd name="T88" fmla="*/ 102 w 364"/>
                <a:gd name="T89" fmla="*/ 103 h 540"/>
                <a:gd name="T90" fmla="*/ 91 w 364"/>
                <a:gd name="T91" fmla="*/ 96 h 540"/>
                <a:gd name="T92" fmla="*/ 91 w 364"/>
                <a:gd name="T93" fmla="*/ 83 h 540"/>
                <a:gd name="T94" fmla="*/ 81 w 364"/>
                <a:gd name="T95" fmla="*/ 64 h 540"/>
                <a:gd name="T96" fmla="*/ 78 w 364"/>
                <a:gd name="T97" fmla="*/ 58 h 540"/>
                <a:gd name="T98" fmla="*/ 156 w 364"/>
                <a:gd name="T99" fmla="*/ 18 h 540"/>
                <a:gd name="T100" fmla="*/ 156 w 364"/>
                <a:gd name="T101" fmla="*/ 2 h 540"/>
                <a:gd name="T102" fmla="*/ 250 w 364"/>
                <a:gd name="T103" fmla="*/ 53 h 540"/>
                <a:gd name="T104" fmla="*/ 258 w 364"/>
                <a:gd name="T105" fmla="*/ 67 h 540"/>
                <a:gd name="T106" fmla="*/ 311 w 364"/>
                <a:gd name="T107" fmla="*/ 59 h 540"/>
                <a:gd name="T108" fmla="*/ 364 w 364"/>
                <a:gd name="T109" fmla="*/ 109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64" h="540">
                  <a:moveTo>
                    <a:pt x="360" y="125"/>
                  </a:moveTo>
                  <a:lnTo>
                    <a:pt x="351" y="157"/>
                  </a:lnTo>
                  <a:lnTo>
                    <a:pt x="330" y="149"/>
                  </a:lnTo>
                  <a:lnTo>
                    <a:pt x="328" y="163"/>
                  </a:lnTo>
                  <a:lnTo>
                    <a:pt x="312" y="187"/>
                  </a:lnTo>
                  <a:lnTo>
                    <a:pt x="298" y="193"/>
                  </a:lnTo>
                  <a:lnTo>
                    <a:pt x="290" y="200"/>
                  </a:lnTo>
                  <a:lnTo>
                    <a:pt x="285" y="209"/>
                  </a:lnTo>
                  <a:lnTo>
                    <a:pt x="250" y="243"/>
                  </a:lnTo>
                  <a:lnTo>
                    <a:pt x="229" y="254"/>
                  </a:lnTo>
                  <a:lnTo>
                    <a:pt x="228" y="264"/>
                  </a:lnTo>
                  <a:lnTo>
                    <a:pt x="223" y="265"/>
                  </a:lnTo>
                  <a:lnTo>
                    <a:pt x="214" y="273"/>
                  </a:lnTo>
                  <a:lnTo>
                    <a:pt x="214" y="280"/>
                  </a:lnTo>
                  <a:lnTo>
                    <a:pt x="220" y="278"/>
                  </a:lnTo>
                  <a:lnTo>
                    <a:pt x="223" y="284"/>
                  </a:lnTo>
                  <a:lnTo>
                    <a:pt x="218" y="289"/>
                  </a:lnTo>
                  <a:lnTo>
                    <a:pt x="220" y="291"/>
                  </a:lnTo>
                  <a:lnTo>
                    <a:pt x="217" y="300"/>
                  </a:lnTo>
                  <a:lnTo>
                    <a:pt x="214" y="302"/>
                  </a:lnTo>
                  <a:lnTo>
                    <a:pt x="210" y="300"/>
                  </a:lnTo>
                  <a:lnTo>
                    <a:pt x="212" y="307"/>
                  </a:lnTo>
                  <a:lnTo>
                    <a:pt x="226" y="320"/>
                  </a:lnTo>
                  <a:lnTo>
                    <a:pt x="226" y="329"/>
                  </a:lnTo>
                  <a:lnTo>
                    <a:pt x="220" y="342"/>
                  </a:lnTo>
                  <a:lnTo>
                    <a:pt x="212" y="363"/>
                  </a:lnTo>
                  <a:lnTo>
                    <a:pt x="214" y="375"/>
                  </a:lnTo>
                  <a:lnTo>
                    <a:pt x="206" y="409"/>
                  </a:lnTo>
                  <a:lnTo>
                    <a:pt x="209" y="423"/>
                  </a:lnTo>
                  <a:lnTo>
                    <a:pt x="199" y="441"/>
                  </a:lnTo>
                  <a:lnTo>
                    <a:pt x="191" y="442"/>
                  </a:lnTo>
                  <a:lnTo>
                    <a:pt x="186" y="449"/>
                  </a:lnTo>
                  <a:lnTo>
                    <a:pt x="183" y="460"/>
                  </a:lnTo>
                  <a:lnTo>
                    <a:pt x="175" y="466"/>
                  </a:lnTo>
                  <a:lnTo>
                    <a:pt x="178" y="469"/>
                  </a:lnTo>
                  <a:lnTo>
                    <a:pt x="175" y="471"/>
                  </a:lnTo>
                  <a:lnTo>
                    <a:pt x="172" y="477"/>
                  </a:lnTo>
                  <a:lnTo>
                    <a:pt x="169" y="479"/>
                  </a:lnTo>
                  <a:lnTo>
                    <a:pt x="167" y="487"/>
                  </a:lnTo>
                  <a:lnTo>
                    <a:pt x="161" y="489"/>
                  </a:lnTo>
                  <a:lnTo>
                    <a:pt x="158" y="493"/>
                  </a:lnTo>
                  <a:lnTo>
                    <a:pt x="156" y="497"/>
                  </a:lnTo>
                  <a:lnTo>
                    <a:pt x="162" y="508"/>
                  </a:lnTo>
                  <a:lnTo>
                    <a:pt x="154" y="513"/>
                  </a:lnTo>
                  <a:lnTo>
                    <a:pt x="148" y="509"/>
                  </a:lnTo>
                  <a:lnTo>
                    <a:pt x="143" y="511"/>
                  </a:lnTo>
                  <a:lnTo>
                    <a:pt x="138" y="521"/>
                  </a:lnTo>
                  <a:lnTo>
                    <a:pt x="140" y="535"/>
                  </a:lnTo>
                  <a:lnTo>
                    <a:pt x="134" y="535"/>
                  </a:lnTo>
                  <a:lnTo>
                    <a:pt x="135" y="538"/>
                  </a:lnTo>
                  <a:lnTo>
                    <a:pt x="131" y="540"/>
                  </a:lnTo>
                  <a:lnTo>
                    <a:pt x="123" y="538"/>
                  </a:lnTo>
                  <a:lnTo>
                    <a:pt x="124" y="530"/>
                  </a:lnTo>
                  <a:lnTo>
                    <a:pt x="131" y="530"/>
                  </a:lnTo>
                  <a:lnTo>
                    <a:pt x="134" y="524"/>
                  </a:lnTo>
                  <a:lnTo>
                    <a:pt x="129" y="530"/>
                  </a:lnTo>
                  <a:lnTo>
                    <a:pt x="124" y="524"/>
                  </a:lnTo>
                  <a:lnTo>
                    <a:pt x="126" y="519"/>
                  </a:lnTo>
                  <a:lnTo>
                    <a:pt x="121" y="528"/>
                  </a:lnTo>
                  <a:lnTo>
                    <a:pt x="115" y="530"/>
                  </a:lnTo>
                  <a:lnTo>
                    <a:pt x="108" y="528"/>
                  </a:lnTo>
                  <a:lnTo>
                    <a:pt x="107" y="524"/>
                  </a:lnTo>
                  <a:lnTo>
                    <a:pt x="113" y="521"/>
                  </a:lnTo>
                  <a:lnTo>
                    <a:pt x="108" y="519"/>
                  </a:lnTo>
                  <a:lnTo>
                    <a:pt x="113" y="509"/>
                  </a:lnTo>
                  <a:lnTo>
                    <a:pt x="111" y="505"/>
                  </a:lnTo>
                  <a:lnTo>
                    <a:pt x="97" y="490"/>
                  </a:lnTo>
                  <a:lnTo>
                    <a:pt x="100" y="479"/>
                  </a:lnTo>
                  <a:lnTo>
                    <a:pt x="102" y="477"/>
                  </a:lnTo>
                  <a:lnTo>
                    <a:pt x="107" y="479"/>
                  </a:lnTo>
                  <a:lnTo>
                    <a:pt x="110" y="473"/>
                  </a:lnTo>
                  <a:lnTo>
                    <a:pt x="107" y="473"/>
                  </a:lnTo>
                  <a:lnTo>
                    <a:pt x="110" y="473"/>
                  </a:lnTo>
                  <a:lnTo>
                    <a:pt x="107" y="479"/>
                  </a:lnTo>
                  <a:lnTo>
                    <a:pt x="103" y="477"/>
                  </a:lnTo>
                  <a:lnTo>
                    <a:pt x="99" y="479"/>
                  </a:lnTo>
                  <a:lnTo>
                    <a:pt x="97" y="492"/>
                  </a:lnTo>
                  <a:lnTo>
                    <a:pt x="111" y="505"/>
                  </a:lnTo>
                  <a:lnTo>
                    <a:pt x="108" y="517"/>
                  </a:lnTo>
                  <a:lnTo>
                    <a:pt x="103" y="519"/>
                  </a:lnTo>
                  <a:lnTo>
                    <a:pt x="97" y="516"/>
                  </a:lnTo>
                  <a:lnTo>
                    <a:pt x="94" y="509"/>
                  </a:lnTo>
                  <a:lnTo>
                    <a:pt x="99" y="506"/>
                  </a:lnTo>
                  <a:lnTo>
                    <a:pt x="97" y="509"/>
                  </a:lnTo>
                  <a:lnTo>
                    <a:pt x="95" y="506"/>
                  </a:lnTo>
                  <a:lnTo>
                    <a:pt x="92" y="508"/>
                  </a:lnTo>
                  <a:lnTo>
                    <a:pt x="89" y="505"/>
                  </a:lnTo>
                  <a:lnTo>
                    <a:pt x="91" y="500"/>
                  </a:lnTo>
                  <a:lnTo>
                    <a:pt x="83" y="497"/>
                  </a:lnTo>
                  <a:lnTo>
                    <a:pt x="78" y="492"/>
                  </a:lnTo>
                  <a:lnTo>
                    <a:pt x="92" y="471"/>
                  </a:lnTo>
                  <a:lnTo>
                    <a:pt x="86" y="469"/>
                  </a:lnTo>
                  <a:lnTo>
                    <a:pt x="86" y="466"/>
                  </a:lnTo>
                  <a:lnTo>
                    <a:pt x="91" y="465"/>
                  </a:lnTo>
                  <a:lnTo>
                    <a:pt x="87" y="454"/>
                  </a:lnTo>
                  <a:lnTo>
                    <a:pt x="75" y="447"/>
                  </a:lnTo>
                  <a:lnTo>
                    <a:pt x="79" y="447"/>
                  </a:lnTo>
                  <a:lnTo>
                    <a:pt x="78" y="438"/>
                  </a:lnTo>
                  <a:lnTo>
                    <a:pt x="81" y="436"/>
                  </a:lnTo>
                  <a:lnTo>
                    <a:pt x="81" y="433"/>
                  </a:lnTo>
                  <a:lnTo>
                    <a:pt x="83" y="433"/>
                  </a:lnTo>
                  <a:lnTo>
                    <a:pt x="81" y="433"/>
                  </a:lnTo>
                  <a:lnTo>
                    <a:pt x="79" y="436"/>
                  </a:lnTo>
                  <a:lnTo>
                    <a:pt x="75" y="433"/>
                  </a:lnTo>
                  <a:lnTo>
                    <a:pt x="79" y="444"/>
                  </a:lnTo>
                  <a:lnTo>
                    <a:pt x="75" y="447"/>
                  </a:lnTo>
                  <a:lnTo>
                    <a:pt x="76" y="450"/>
                  </a:lnTo>
                  <a:lnTo>
                    <a:pt x="86" y="454"/>
                  </a:lnTo>
                  <a:lnTo>
                    <a:pt x="89" y="465"/>
                  </a:lnTo>
                  <a:lnTo>
                    <a:pt x="86" y="466"/>
                  </a:lnTo>
                  <a:lnTo>
                    <a:pt x="84" y="469"/>
                  </a:lnTo>
                  <a:lnTo>
                    <a:pt x="91" y="471"/>
                  </a:lnTo>
                  <a:lnTo>
                    <a:pt x="76" y="487"/>
                  </a:lnTo>
                  <a:lnTo>
                    <a:pt x="70" y="484"/>
                  </a:lnTo>
                  <a:lnTo>
                    <a:pt x="71" y="476"/>
                  </a:lnTo>
                  <a:lnTo>
                    <a:pt x="65" y="469"/>
                  </a:lnTo>
                  <a:lnTo>
                    <a:pt x="67" y="465"/>
                  </a:lnTo>
                  <a:lnTo>
                    <a:pt x="59" y="461"/>
                  </a:lnTo>
                  <a:lnTo>
                    <a:pt x="60" y="460"/>
                  </a:lnTo>
                  <a:lnTo>
                    <a:pt x="54" y="454"/>
                  </a:lnTo>
                  <a:lnTo>
                    <a:pt x="51" y="455"/>
                  </a:lnTo>
                  <a:lnTo>
                    <a:pt x="44" y="446"/>
                  </a:lnTo>
                  <a:lnTo>
                    <a:pt x="46" y="444"/>
                  </a:lnTo>
                  <a:lnTo>
                    <a:pt x="35" y="436"/>
                  </a:lnTo>
                  <a:lnTo>
                    <a:pt x="63" y="358"/>
                  </a:lnTo>
                  <a:lnTo>
                    <a:pt x="60" y="324"/>
                  </a:lnTo>
                  <a:lnTo>
                    <a:pt x="57" y="321"/>
                  </a:lnTo>
                  <a:lnTo>
                    <a:pt x="57" y="316"/>
                  </a:lnTo>
                  <a:lnTo>
                    <a:pt x="56" y="315"/>
                  </a:lnTo>
                  <a:lnTo>
                    <a:pt x="57" y="312"/>
                  </a:lnTo>
                  <a:lnTo>
                    <a:pt x="54" y="302"/>
                  </a:lnTo>
                  <a:lnTo>
                    <a:pt x="24" y="281"/>
                  </a:lnTo>
                  <a:lnTo>
                    <a:pt x="14" y="278"/>
                  </a:lnTo>
                  <a:lnTo>
                    <a:pt x="3" y="280"/>
                  </a:lnTo>
                  <a:lnTo>
                    <a:pt x="0" y="273"/>
                  </a:lnTo>
                  <a:lnTo>
                    <a:pt x="12" y="259"/>
                  </a:lnTo>
                  <a:lnTo>
                    <a:pt x="12" y="256"/>
                  </a:lnTo>
                  <a:lnTo>
                    <a:pt x="16" y="256"/>
                  </a:lnTo>
                  <a:lnTo>
                    <a:pt x="19" y="260"/>
                  </a:lnTo>
                  <a:lnTo>
                    <a:pt x="30" y="254"/>
                  </a:lnTo>
                  <a:lnTo>
                    <a:pt x="36" y="253"/>
                  </a:lnTo>
                  <a:lnTo>
                    <a:pt x="41" y="248"/>
                  </a:lnTo>
                  <a:lnTo>
                    <a:pt x="54" y="240"/>
                  </a:lnTo>
                  <a:lnTo>
                    <a:pt x="65" y="229"/>
                  </a:lnTo>
                  <a:lnTo>
                    <a:pt x="73" y="229"/>
                  </a:lnTo>
                  <a:lnTo>
                    <a:pt x="78" y="233"/>
                  </a:lnTo>
                  <a:lnTo>
                    <a:pt x="81" y="232"/>
                  </a:lnTo>
                  <a:lnTo>
                    <a:pt x="86" y="216"/>
                  </a:lnTo>
                  <a:lnTo>
                    <a:pt x="84" y="208"/>
                  </a:lnTo>
                  <a:lnTo>
                    <a:pt x="100" y="209"/>
                  </a:lnTo>
                  <a:lnTo>
                    <a:pt x="105" y="206"/>
                  </a:lnTo>
                  <a:lnTo>
                    <a:pt x="108" y="200"/>
                  </a:lnTo>
                  <a:lnTo>
                    <a:pt x="113" y="200"/>
                  </a:lnTo>
                  <a:lnTo>
                    <a:pt x="119" y="193"/>
                  </a:lnTo>
                  <a:lnTo>
                    <a:pt x="116" y="179"/>
                  </a:lnTo>
                  <a:lnTo>
                    <a:pt x="119" y="178"/>
                  </a:lnTo>
                  <a:lnTo>
                    <a:pt x="119" y="173"/>
                  </a:lnTo>
                  <a:lnTo>
                    <a:pt x="127" y="171"/>
                  </a:lnTo>
                  <a:lnTo>
                    <a:pt x="123" y="168"/>
                  </a:lnTo>
                  <a:lnTo>
                    <a:pt x="129" y="165"/>
                  </a:lnTo>
                  <a:lnTo>
                    <a:pt x="131" y="157"/>
                  </a:lnTo>
                  <a:lnTo>
                    <a:pt x="135" y="157"/>
                  </a:lnTo>
                  <a:lnTo>
                    <a:pt x="132" y="152"/>
                  </a:lnTo>
                  <a:lnTo>
                    <a:pt x="135" y="149"/>
                  </a:lnTo>
                  <a:lnTo>
                    <a:pt x="134" y="149"/>
                  </a:lnTo>
                  <a:lnTo>
                    <a:pt x="131" y="141"/>
                  </a:lnTo>
                  <a:lnTo>
                    <a:pt x="126" y="144"/>
                  </a:lnTo>
                  <a:lnTo>
                    <a:pt x="124" y="142"/>
                  </a:lnTo>
                  <a:lnTo>
                    <a:pt x="124" y="139"/>
                  </a:lnTo>
                  <a:lnTo>
                    <a:pt x="119" y="141"/>
                  </a:lnTo>
                  <a:lnTo>
                    <a:pt x="123" y="131"/>
                  </a:lnTo>
                  <a:lnTo>
                    <a:pt x="116" y="130"/>
                  </a:lnTo>
                  <a:lnTo>
                    <a:pt x="118" y="126"/>
                  </a:lnTo>
                  <a:lnTo>
                    <a:pt x="110" y="117"/>
                  </a:lnTo>
                  <a:lnTo>
                    <a:pt x="115" y="114"/>
                  </a:lnTo>
                  <a:lnTo>
                    <a:pt x="113" y="111"/>
                  </a:lnTo>
                  <a:lnTo>
                    <a:pt x="107" y="109"/>
                  </a:lnTo>
                  <a:lnTo>
                    <a:pt x="108" y="106"/>
                  </a:lnTo>
                  <a:lnTo>
                    <a:pt x="107" y="103"/>
                  </a:lnTo>
                  <a:lnTo>
                    <a:pt x="102" y="103"/>
                  </a:lnTo>
                  <a:lnTo>
                    <a:pt x="103" y="99"/>
                  </a:lnTo>
                  <a:lnTo>
                    <a:pt x="100" y="101"/>
                  </a:lnTo>
                  <a:lnTo>
                    <a:pt x="92" y="93"/>
                  </a:lnTo>
                  <a:lnTo>
                    <a:pt x="91" y="96"/>
                  </a:lnTo>
                  <a:lnTo>
                    <a:pt x="91" y="91"/>
                  </a:lnTo>
                  <a:lnTo>
                    <a:pt x="87" y="88"/>
                  </a:lnTo>
                  <a:lnTo>
                    <a:pt x="92" y="87"/>
                  </a:lnTo>
                  <a:lnTo>
                    <a:pt x="91" y="83"/>
                  </a:lnTo>
                  <a:lnTo>
                    <a:pt x="86" y="80"/>
                  </a:lnTo>
                  <a:lnTo>
                    <a:pt x="87" y="75"/>
                  </a:lnTo>
                  <a:lnTo>
                    <a:pt x="79" y="67"/>
                  </a:lnTo>
                  <a:lnTo>
                    <a:pt x="81" y="64"/>
                  </a:lnTo>
                  <a:lnTo>
                    <a:pt x="79" y="64"/>
                  </a:lnTo>
                  <a:lnTo>
                    <a:pt x="78" y="61"/>
                  </a:lnTo>
                  <a:lnTo>
                    <a:pt x="73" y="58"/>
                  </a:lnTo>
                  <a:lnTo>
                    <a:pt x="78" y="58"/>
                  </a:lnTo>
                  <a:lnTo>
                    <a:pt x="79" y="55"/>
                  </a:lnTo>
                  <a:lnTo>
                    <a:pt x="87" y="50"/>
                  </a:lnTo>
                  <a:lnTo>
                    <a:pt x="154" y="24"/>
                  </a:lnTo>
                  <a:lnTo>
                    <a:pt x="156" y="18"/>
                  </a:lnTo>
                  <a:lnTo>
                    <a:pt x="158" y="20"/>
                  </a:lnTo>
                  <a:lnTo>
                    <a:pt x="154" y="13"/>
                  </a:lnTo>
                  <a:lnTo>
                    <a:pt x="158" y="10"/>
                  </a:lnTo>
                  <a:lnTo>
                    <a:pt x="156" y="2"/>
                  </a:lnTo>
                  <a:lnTo>
                    <a:pt x="161" y="0"/>
                  </a:lnTo>
                  <a:lnTo>
                    <a:pt x="183" y="10"/>
                  </a:lnTo>
                  <a:lnTo>
                    <a:pt x="247" y="45"/>
                  </a:lnTo>
                  <a:lnTo>
                    <a:pt x="250" y="53"/>
                  </a:lnTo>
                  <a:lnTo>
                    <a:pt x="245" y="66"/>
                  </a:lnTo>
                  <a:lnTo>
                    <a:pt x="249" y="64"/>
                  </a:lnTo>
                  <a:lnTo>
                    <a:pt x="250" y="69"/>
                  </a:lnTo>
                  <a:lnTo>
                    <a:pt x="258" y="67"/>
                  </a:lnTo>
                  <a:lnTo>
                    <a:pt x="266" y="69"/>
                  </a:lnTo>
                  <a:lnTo>
                    <a:pt x="273" y="79"/>
                  </a:lnTo>
                  <a:lnTo>
                    <a:pt x="277" y="79"/>
                  </a:lnTo>
                  <a:lnTo>
                    <a:pt x="311" y="59"/>
                  </a:lnTo>
                  <a:lnTo>
                    <a:pt x="325" y="55"/>
                  </a:lnTo>
                  <a:lnTo>
                    <a:pt x="336" y="79"/>
                  </a:lnTo>
                  <a:lnTo>
                    <a:pt x="362" y="103"/>
                  </a:lnTo>
                  <a:lnTo>
                    <a:pt x="364" y="109"/>
                  </a:lnTo>
                  <a:lnTo>
                    <a:pt x="360" y="12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/>
            <a:lstStyle/>
            <a:p>
              <a:pPr algn="ctr"/>
              <a:endParaRPr lang="en-US" sz="800" dirty="0"/>
            </a:p>
          </p:txBody>
        </p:sp>
        <p:sp>
          <p:nvSpPr>
            <p:cNvPr id="15" name="Freeform 199">
              <a:extLst>
                <a:ext uri="{FF2B5EF4-FFF2-40B4-BE49-F238E27FC236}">
                  <a16:creationId xmlns:a16="http://schemas.microsoft.com/office/drawing/2014/main" id="{4336A0CA-5711-4E52-8B82-D2FDFE9FF4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8063" y="2597150"/>
              <a:ext cx="947737" cy="712787"/>
            </a:xfrm>
            <a:custGeom>
              <a:avLst/>
              <a:gdLst>
                <a:gd name="T0" fmla="*/ 536 w 597"/>
                <a:gd name="T1" fmla="*/ 69 h 449"/>
                <a:gd name="T2" fmla="*/ 551 w 597"/>
                <a:gd name="T3" fmla="*/ 77 h 449"/>
                <a:gd name="T4" fmla="*/ 565 w 597"/>
                <a:gd name="T5" fmla="*/ 99 h 449"/>
                <a:gd name="T6" fmla="*/ 597 w 597"/>
                <a:gd name="T7" fmla="*/ 137 h 449"/>
                <a:gd name="T8" fmla="*/ 573 w 597"/>
                <a:gd name="T9" fmla="*/ 147 h 449"/>
                <a:gd name="T10" fmla="*/ 535 w 597"/>
                <a:gd name="T11" fmla="*/ 166 h 449"/>
                <a:gd name="T12" fmla="*/ 469 w 597"/>
                <a:gd name="T13" fmla="*/ 142 h 449"/>
                <a:gd name="T14" fmla="*/ 448 w 597"/>
                <a:gd name="T15" fmla="*/ 142 h 449"/>
                <a:gd name="T16" fmla="*/ 434 w 597"/>
                <a:gd name="T17" fmla="*/ 157 h 449"/>
                <a:gd name="T18" fmla="*/ 442 w 597"/>
                <a:gd name="T19" fmla="*/ 189 h 449"/>
                <a:gd name="T20" fmla="*/ 460 w 597"/>
                <a:gd name="T21" fmla="*/ 209 h 449"/>
                <a:gd name="T22" fmla="*/ 460 w 597"/>
                <a:gd name="T23" fmla="*/ 232 h 449"/>
                <a:gd name="T24" fmla="*/ 469 w 597"/>
                <a:gd name="T25" fmla="*/ 291 h 449"/>
                <a:gd name="T26" fmla="*/ 437 w 597"/>
                <a:gd name="T27" fmla="*/ 324 h 449"/>
                <a:gd name="T28" fmla="*/ 423 w 597"/>
                <a:gd name="T29" fmla="*/ 375 h 449"/>
                <a:gd name="T30" fmla="*/ 343 w 597"/>
                <a:gd name="T31" fmla="*/ 380 h 449"/>
                <a:gd name="T32" fmla="*/ 318 w 597"/>
                <a:gd name="T33" fmla="*/ 386 h 449"/>
                <a:gd name="T34" fmla="*/ 201 w 597"/>
                <a:gd name="T35" fmla="*/ 404 h 449"/>
                <a:gd name="T36" fmla="*/ 171 w 597"/>
                <a:gd name="T37" fmla="*/ 405 h 449"/>
                <a:gd name="T38" fmla="*/ 144 w 597"/>
                <a:gd name="T39" fmla="*/ 429 h 449"/>
                <a:gd name="T40" fmla="*/ 118 w 597"/>
                <a:gd name="T41" fmla="*/ 442 h 449"/>
                <a:gd name="T42" fmla="*/ 104 w 597"/>
                <a:gd name="T43" fmla="*/ 449 h 449"/>
                <a:gd name="T44" fmla="*/ 116 w 597"/>
                <a:gd name="T45" fmla="*/ 358 h 449"/>
                <a:gd name="T46" fmla="*/ 145 w 597"/>
                <a:gd name="T47" fmla="*/ 359 h 449"/>
                <a:gd name="T48" fmla="*/ 156 w 597"/>
                <a:gd name="T49" fmla="*/ 311 h 449"/>
                <a:gd name="T50" fmla="*/ 156 w 597"/>
                <a:gd name="T51" fmla="*/ 252 h 449"/>
                <a:gd name="T52" fmla="*/ 155 w 597"/>
                <a:gd name="T53" fmla="*/ 176 h 449"/>
                <a:gd name="T54" fmla="*/ 116 w 597"/>
                <a:gd name="T55" fmla="*/ 196 h 449"/>
                <a:gd name="T56" fmla="*/ 43 w 597"/>
                <a:gd name="T57" fmla="*/ 155 h 449"/>
                <a:gd name="T58" fmla="*/ 3 w 597"/>
                <a:gd name="T59" fmla="*/ 152 h 449"/>
                <a:gd name="T60" fmla="*/ 0 w 597"/>
                <a:gd name="T61" fmla="*/ 99 h 449"/>
                <a:gd name="T62" fmla="*/ 75 w 597"/>
                <a:gd name="T63" fmla="*/ 45 h 449"/>
                <a:gd name="T64" fmla="*/ 179 w 597"/>
                <a:gd name="T65" fmla="*/ 35 h 449"/>
                <a:gd name="T66" fmla="*/ 220 w 597"/>
                <a:gd name="T67" fmla="*/ 34 h 449"/>
                <a:gd name="T68" fmla="*/ 279 w 597"/>
                <a:gd name="T69" fmla="*/ 21 h 449"/>
                <a:gd name="T70" fmla="*/ 324 w 597"/>
                <a:gd name="T71" fmla="*/ 0 h 449"/>
                <a:gd name="T72" fmla="*/ 365 w 597"/>
                <a:gd name="T73" fmla="*/ 18 h 449"/>
                <a:gd name="T74" fmla="*/ 455 w 597"/>
                <a:gd name="T75" fmla="*/ 51 h 449"/>
                <a:gd name="T76" fmla="*/ 490 w 597"/>
                <a:gd name="T77" fmla="*/ 51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97" h="449">
                  <a:moveTo>
                    <a:pt x="499" y="51"/>
                  </a:moveTo>
                  <a:lnTo>
                    <a:pt x="536" y="69"/>
                  </a:lnTo>
                  <a:lnTo>
                    <a:pt x="547" y="80"/>
                  </a:lnTo>
                  <a:lnTo>
                    <a:pt x="551" y="77"/>
                  </a:lnTo>
                  <a:lnTo>
                    <a:pt x="566" y="93"/>
                  </a:lnTo>
                  <a:lnTo>
                    <a:pt x="565" y="99"/>
                  </a:lnTo>
                  <a:lnTo>
                    <a:pt x="595" y="131"/>
                  </a:lnTo>
                  <a:lnTo>
                    <a:pt x="597" y="137"/>
                  </a:lnTo>
                  <a:lnTo>
                    <a:pt x="594" y="142"/>
                  </a:lnTo>
                  <a:lnTo>
                    <a:pt x="573" y="147"/>
                  </a:lnTo>
                  <a:lnTo>
                    <a:pt x="543" y="166"/>
                  </a:lnTo>
                  <a:lnTo>
                    <a:pt x="535" y="166"/>
                  </a:lnTo>
                  <a:lnTo>
                    <a:pt x="523" y="160"/>
                  </a:lnTo>
                  <a:lnTo>
                    <a:pt x="469" y="142"/>
                  </a:lnTo>
                  <a:lnTo>
                    <a:pt x="455" y="145"/>
                  </a:lnTo>
                  <a:lnTo>
                    <a:pt x="448" y="142"/>
                  </a:lnTo>
                  <a:lnTo>
                    <a:pt x="439" y="150"/>
                  </a:lnTo>
                  <a:lnTo>
                    <a:pt x="434" y="157"/>
                  </a:lnTo>
                  <a:lnTo>
                    <a:pt x="434" y="161"/>
                  </a:lnTo>
                  <a:lnTo>
                    <a:pt x="442" y="189"/>
                  </a:lnTo>
                  <a:lnTo>
                    <a:pt x="450" y="195"/>
                  </a:lnTo>
                  <a:lnTo>
                    <a:pt x="460" y="209"/>
                  </a:lnTo>
                  <a:lnTo>
                    <a:pt x="469" y="217"/>
                  </a:lnTo>
                  <a:lnTo>
                    <a:pt x="460" y="232"/>
                  </a:lnTo>
                  <a:lnTo>
                    <a:pt x="455" y="248"/>
                  </a:lnTo>
                  <a:lnTo>
                    <a:pt x="469" y="291"/>
                  </a:lnTo>
                  <a:lnTo>
                    <a:pt x="444" y="313"/>
                  </a:lnTo>
                  <a:lnTo>
                    <a:pt x="437" y="324"/>
                  </a:lnTo>
                  <a:lnTo>
                    <a:pt x="424" y="361"/>
                  </a:lnTo>
                  <a:lnTo>
                    <a:pt x="423" y="375"/>
                  </a:lnTo>
                  <a:lnTo>
                    <a:pt x="372" y="375"/>
                  </a:lnTo>
                  <a:lnTo>
                    <a:pt x="343" y="380"/>
                  </a:lnTo>
                  <a:lnTo>
                    <a:pt x="327" y="380"/>
                  </a:lnTo>
                  <a:lnTo>
                    <a:pt x="318" y="386"/>
                  </a:lnTo>
                  <a:lnTo>
                    <a:pt x="223" y="391"/>
                  </a:lnTo>
                  <a:lnTo>
                    <a:pt x="201" y="404"/>
                  </a:lnTo>
                  <a:lnTo>
                    <a:pt x="179" y="404"/>
                  </a:lnTo>
                  <a:lnTo>
                    <a:pt x="171" y="405"/>
                  </a:lnTo>
                  <a:lnTo>
                    <a:pt x="156" y="415"/>
                  </a:lnTo>
                  <a:lnTo>
                    <a:pt x="144" y="429"/>
                  </a:lnTo>
                  <a:lnTo>
                    <a:pt x="131" y="439"/>
                  </a:lnTo>
                  <a:lnTo>
                    <a:pt x="118" y="442"/>
                  </a:lnTo>
                  <a:lnTo>
                    <a:pt x="112" y="449"/>
                  </a:lnTo>
                  <a:lnTo>
                    <a:pt x="104" y="449"/>
                  </a:lnTo>
                  <a:lnTo>
                    <a:pt x="104" y="370"/>
                  </a:lnTo>
                  <a:lnTo>
                    <a:pt x="116" y="358"/>
                  </a:lnTo>
                  <a:lnTo>
                    <a:pt x="137" y="351"/>
                  </a:lnTo>
                  <a:lnTo>
                    <a:pt x="145" y="359"/>
                  </a:lnTo>
                  <a:lnTo>
                    <a:pt x="156" y="354"/>
                  </a:lnTo>
                  <a:lnTo>
                    <a:pt x="156" y="311"/>
                  </a:lnTo>
                  <a:lnTo>
                    <a:pt x="155" y="303"/>
                  </a:lnTo>
                  <a:lnTo>
                    <a:pt x="156" y="252"/>
                  </a:lnTo>
                  <a:lnTo>
                    <a:pt x="142" y="230"/>
                  </a:lnTo>
                  <a:lnTo>
                    <a:pt x="155" y="176"/>
                  </a:lnTo>
                  <a:lnTo>
                    <a:pt x="144" y="171"/>
                  </a:lnTo>
                  <a:lnTo>
                    <a:pt x="116" y="196"/>
                  </a:lnTo>
                  <a:lnTo>
                    <a:pt x="56" y="165"/>
                  </a:lnTo>
                  <a:lnTo>
                    <a:pt x="43" y="155"/>
                  </a:lnTo>
                  <a:lnTo>
                    <a:pt x="16" y="157"/>
                  </a:lnTo>
                  <a:lnTo>
                    <a:pt x="3" y="152"/>
                  </a:lnTo>
                  <a:lnTo>
                    <a:pt x="0" y="150"/>
                  </a:lnTo>
                  <a:lnTo>
                    <a:pt x="0" y="99"/>
                  </a:lnTo>
                  <a:lnTo>
                    <a:pt x="14" y="99"/>
                  </a:lnTo>
                  <a:lnTo>
                    <a:pt x="75" y="45"/>
                  </a:lnTo>
                  <a:lnTo>
                    <a:pt x="171" y="24"/>
                  </a:lnTo>
                  <a:lnTo>
                    <a:pt x="179" y="35"/>
                  </a:lnTo>
                  <a:lnTo>
                    <a:pt x="203" y="39"/>
                  </a:lnTo>
                  <a:lnTo>
                    <a:pt x="220" y="34"/>
                  </a:lnTo>
                  <a:lnTo>
                    <a:pt x="266" y="35"/>
                  </a:lnTo>
                  <a:lnTo>
                    <a:pt x="279" y="21"/>
                  </a:lnTo>
                  <a:lnTo>
                    <a:pt x="282" y="11"/>
                  </a:lnTo>
                  <a:lnTo>
                    <a:pt x="324" y="0"/>
                  </a:lnTo>
                  <a:lnTo>
                    <a:pt x="334" y="8"/>
                  </a:lnTo>
                  <a:lnTo>
                    <a:pt x="365" y="18"/>
                  </a:lnTo>
                  <a:lnTo>
                    <a:pt x="396" y="32"/>
                  </a:lnTo>
                  <a:lnTo>
                    <a:pt x="455" y="51"/>
                  </a:lnTo>
                  <a:lnTo>
                    <a:pt x="469" y="58"/>
                  </a:lnTo>
                  <a:lnTo>
                    <a:pt x="490" y="51"/>
                  </a:lnTo>
                  <a:lnTo>
                    <a:pt x="499" y="5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/>
            <a:lstStyle/>
            <a:p>
              <a:pPr algn="ctr"/>
              <a:endParaRPr lang="en-US" sz="800" dirty="0"/>
            </a:p>
          </p:txBody>
        </p:sp>
        <p:sp>
          <p:nvSpPr>
            <p:cNvPr id="16" name="Freeform 200">
              <a:extLst>
                <a:ext uri="{FF2B5EF4-FFF2-40B4-BE49-F238E27FC236}">
                  <a16:creationId xmlns:a16="http://schemas.microsoft.com/office/drawing/2014/main" id="{95689A34-7CA7-4EB5-8853-B47C828291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7138" y="2954338"/>
              <a:ext cx="912812" cy="765175"/>
            </a:xfrm>
            <a:custGeom>
              <a:avLst/>
              <a:gdLst>
                <a:gd name="T0" fmla="*/ 556 w 575"/>
                <a:gd name="T1" fmla="*/ 117 h 482"/>
                <a:gd name="T2" fmla="*/ 546 w 575"/>
                <a:gd name="T3" fmla="*/ 125 h 482"/>
                <a:gd name="T4" fmla="*/ 527 w 575"/>
                <a:gd name="T5" fmla="*/ 115 h 482"/>
                <a:gd name="T6" fmla="*/ 471 w 575"/>
                <a:gd name="T7" fmla="*/ 155 h 482"/>
                <a:gd name="T8" fmla="*/ 460 w 575"/>
                <a:gd name="T9" fmla="*/ 230 h 482"/>
                <a:gd name="T10" fmla="*/ 428 w 575"/>
                <a:gd name="T11" fmla="*/ 244 h 482"/>
                <a:gd name="T12" fmla="*/ 361 w 575"/>
                <a:gd name="T13" fmla="*/ 263 h 482"/>
                <a:gd name="T14" fmla="*/ 347 w 575"/>
                <a:gd name="T15" fmla="*/ 273 h 482"/>
                <a:gd name="T16" fmla="*/ 343 w 575"/>
                <a:gd name="T17" fmla="*/ 294 h 482"/>
                <a:gd name="T18" fmla="*/ 358 w 575"/>
                <a:gd name="T19" fmla="*/ 305 h 482"/>
                <a:gd name="T20" fmla="*/ 390 w 575"/>
                <a:gd name="T21" fmla="*/ 340 h 482"/>
                <a:gd name="T22" fmla="*/ 409 w 575"/>
                <a:gd name="T23" fmla="*/ 372 h 482"/>
                <a:gd name="T24" fmla="*/ 434 w 575"/>
                <a:gd name="T25" fmla="*/ 413 h 482"/>
                <a:gd name="T26" fmla="*/ 449 w 575"/>
                <a:gd name="T27" fmla="*/ 409 h 482"/>
                <a:gd name="T28" fmla="*/ 460 w 575"/>
                <a:gd name="T29" fmla="*/ 412 h 482"/>
                <a:gd name="T30" fmla="*/ 505 w 575"/>
                <a:gd name="T31" fmla="*/ 423 h 482"/>
                <a:gd name="T32" fmla="*/ 509 w 575"/>
                <a:gd name="T33" fmla="*/ 439 h 482"/>
                <a:gd name="T34" fmla="*/ 498 w 575"/>
                <a:gd name="T35" fmla="*/ 442 h 482"/>
                <a:gd name="T36" fmla="*/ 490 w 575"/>
                <a:gd name="T37" fmla="*/ 448 h 482"/>
                <a:gd name="T38" fmla="*/ 465 w 575"/>
                <a:gd name="T39" fmla="*/ 468 h 482"/>
                <a:gd name="T40" fmla="*/ 463 w 575"/>
                <a:gd name="T41" fmla="*/ 482 h 482"/>
                <a:gd name="T42" fmla="*/ 447 w 575"/>
                <a:gd name="T43" fmla="*/ 476 h 482"/>
                <a:gd name="T44" fmla="*/ 409 w 575"/>
                <a:gd name="T45" fmla="*/ 476 h 482"/>
                <a:gd name="T46" fmla="*/ 401 w 575"/>
                <a:gd name="T47" fmla="*/ 433 h 482"/>
                <a:gd name="T48" fmla="*/ 377 w 575"/>
                <a:gd name="T49" fmla="*/ 409 h 482"/>
                <a:gd name="T50" fmla="*/ 343 w 575"/>
                <a:gd name="T51" fmla="*/ 413 h 482"/>
                <a:gd name="T52" fmla="*/ 319 w 575"/>
                <a:gd name="T53" fmla="*/ 389 h 482"/>
                <a:gd name="T54" fmla="*/ 267 w 575"/>
                <a:gd name="T55" fmla="*/ 396 h 482"/>
                <a:gd name="T56" fmla="*/ 286 w 575"/>
                <a:gd name="T57" fmla="*/ 316 h 482"/>
                <a:gd name="T58" fmla="*/ 273 w 575"/>
                <a:gd name="T59" fmla="*/ 305 h 482"/>
                <a:gd name="T60" fmla="*/ 252 w 575"/>
                <a:gd name="T61" fmla="*/ 286 h 482"/>
                <a:gd name="T62" fmla="*/ 267 w 575"/>
                <a:gd name="T63" fmla="*/ 260 h 482"/>
                <a:gd name="T64" fmla="*/ 254 w 575"/>
                <a:gd name="T65" fmla="*/ 211 h 482"/>
                <a:gd name="T66" fmla="*/ 206 w 575"/>
                <a:gd name="T67" fmla="*/ 212 h 482"/>
                <a:gd name="T68" fmla="*/ 201 w 575"/>
                <a:gd name="T69" fmla="*/ 192 h 482"/>
                <a:gd name="T70" fmla="*/ 165 w 575"/>
                <a:gd name="T71" fmla="*/ 155 h 482"/>
                <a:gd name="T72" fmla="*/ 152 w 575"/>
                <a:gd name="T73" fmla="*/ 129 h 482"/>
                <a:gd name="T74" fmla="*/ 142 w 575"/>
                <a:gd name="T75" fmla="*/ 98 h 482"/>
                <a:gd name="T76" fmla="*/ 67 w 575"/>
                <a:gd name="T77" fmla="*/ 126 h 482"/>
                <a:gd name="T78" fmla="*/ 43 w 575"/>
                <a:gd name="T79" fmla="*/ 102 h 482"/>
                <a:gd name="T80" fmla="*/ 26 w 575"/>
                <a:gd name="T81" fmla="*/ 82 h 482"/>
                <a:gd name="T82" fmla="*/ 0 w 575"/>
                <a:gd name="T83" fmla="*/ 70 h 482"/>
                <a:gd name="T84" fmla="*/ 59 w 575"/>
                <a:gd name="T85" fmla="*/ 27 h 482"/>
                <a:gd name="T86" fmla="*/ 112 w 575"/>
                <a:gd name="T87" fmla="*/ 54 h 482"/>
                <a:gd name="T88" fmla="*/ 131 w 575"/>
                <a:gd name="T89" fmla="*/ 70 h 482"/>
                <a:gd name="T90" fmla="*/ 185 w 575"/>
                <a:gd name="T91" fmla="*/ 58 h 482"/>
                <a:gd name="T92" fmla="*/ 201 w 575"/>
                <a:gd name="T93" fmla="*/ 27 h 482"/>
                <a:gd name="T94" fmla="*/ 343 w 575"/>
                <a:gd name="T95" fmla="*/ 35 h 482"/>
                <a:gd name="T96" fmla="*/ 391 w 575"/>
                <a:gd name="T97" fmla="*/ 38 h 482"/>
                <a:gd name="T98" fmla="*/ 420 w 575"/>
                <a:gd name="T99" fmla="*/ 11 h 482"/>
                <a:gd name="T100" fmla="*/ 493 w 575"/>
                <a:gd name="T101" fmla="*/ 8 h 482"/>
                <a:gd name="T102" fmla="*/ 548 w 575"/>
                <a:gd name="T103" fmla="*/ 31 h 482"/>
                <a:gd name="T104" fmla="*/ 575 w 575"/>
                <a:gd name="T105" fmla="*/ 99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5" h="482">
                  <a:moveTo>
                    <a:pt x="575" y="99"/>
                  </a:moveTo>
                  <a:lnTo>
                    <a:pt x="568" y="112"/>
                  </a:lnTo>
                  <a:lnTo>
                    <a:pt x="556" y="117"/>
                  </a:lnTo>
                  <a:lnTo>
                    <a:pt x="554" y="123"/>
                  </a:lnTo>
                  <a:lnTo>
                    <a:pt x="549" y="125"/>
                  </a:lnTo>
                  <a:lnTo>
                    <a:pt x="546" y="125"/>
                  </a:lnTo>
                  <a:lnTo>
                    <a:pt x="540" y="115"/>
                  </a:lnTo>
                  <a:lnTo>
                    <a:pt x="533" y="113"/>
                  </a:lnTo>
                  <a:lnTo>
                    <a:pt x="527" y="115"/>
                  </a:lnTo>
                  <a:lnTo>
                    <a:pt x="487" y="118"/>
                  </a:lnTo>
                  <a:lnTo>
                    <a:pt x="479" y="129"/>
                  </a:lnTo>
                  <a:lnTo>
                    <a:pt x="471" y="155"/>
                  </a:lnTo>
                  <a:lnTo>
                    <a:pt x="469" y="168"/>
                  </a:lnTo>
                  <a:lnTo>
                    <a:pt x="465" y="177"/>
                  </a:lnTo>
                  <a:lnTo>
                    <a:pt x="460" y="230"/>
                  </a:lnTo>
                  <a:lnTo>
                    <a:pt x="438" y="243"/>
                  </a:lnTo>
                  <a:lnTo>
                    <a:pt x="434" y="241"/>
                  </a:lnTo>
                  <a:lnTo>
                    <a:pt x="428" y="244"/>
                  </a:lnTo>
                  <a:lnTo>
                    <a:pt x="420" y="243"/>
                  </a:lnTo>
                  <a:lnTo>
                    <a:pt x="371" y="262"/>
                  </a:lnTo>
                  <a:lnTo>
                    <a:pt x="361" y="263"/>
                  </a:lnTo>
                  <a:lnTo>
                    <a:pt x="358" y="260"/>
                  </a:lnTo>
                  <a:lnTo>
                    <a:pt x="355" y="270"/>
                  </a:lnTo>
                  <a:lnTo>
                    <a:pt x="347" y="273"/>
                  </a:lnTo>
                  <a:lnTo>
                    <a:pt x="347" y="278"/>
                  </a:lnTo>
                  <a:lnTo>
                    <a:pt x="340" y="284"/>
                  </a:lnTo>
                  <a:lnTo>
                    <a:pt x="343" y="294"/>
                  </a:lnTo>
                  <a:lnTo>
                    <a:pt x="348" y="292"/>
                  </a:lnTo>
                  <a:lnTo>
                    <a:pt x="353" y="295"/>
                  </a:lnTo>
                  <a:lnTo>
                    <a:pt x="358" y="305"/>
                  </a:lnTo>
                  <a:lnTo>
                    <a:pt x="374" y="318"/>
                  </a:lnTo>
                  <a:lnTo>
                    <a:pt x="387" y="334"/>
                  </a:lnTo>
                  <a:lnTo>
                    <a:pt x="390" y="340"/>
                  </a:lnTo>
                  <a:lnTo>
                    <a:pt x="394" y="359"/>
                  </a:lnTo>
                  <a:lnTo>
                    <a:pt x="404" y="362"/>
                  </a:lnTo>
                  <a:lnTo>
                    <a:pt x="409" y="372"/>
                  </a:lnTo>
                  <a:lnTo>
                    <a:pt x="410" y="386"/>
                  </a:lnTo>
                  <a:lnTo>
                    <a:pt x="426" y="412"/>
                  </a:lnTo>
                  <a:lnTo>
                    <a:pt x="434" y="413"/>
                  </a:lnTo>
                  <a:lnTo>
                    <a:pt x="438" y="409"/>
                  </a:lnTo>
                  <a:lnTo>
                    <a:pt x="446" y="407"/>
                  </a:lnTo>
                  <a:lnTo>
                    <a:pt x="449" y="409"/>
                  </a:lnTo>
                  <a:lnTo>
                    <a:pt x="452" y="407"/>
                  </a:lnTo>
                  <a:lnTo>
                    <a:pt x="458" y="409"/>
                  </a:lnTo>
                  <a:lnTo>
                    <a:pt x="460" y="412"/>
                  </a:lnTo>
                  <a:lnTo>
                    <a:pt x="473" y="417"/>
                  </a:lnTo>
                  <a:lnTo>
                    <a:pt x="487" y="417"/>
                  </a:lnTo>
                  <a:lnTo>
                    <a:pt x="505" y="423"/>
                  </a:lnTo>
                  <a:lnTo>
                    <a:pt x="517" y="421"/>
                  </a:lnTo>
                  <a:lnTo>
                    <a:pt x="517" y="426"/>
                  </a:lnTo>
                  <a:lnTo>
                    <a:pt x="509" y="439"/>
                  </a:lnTo>
                  <a:lnTo>
                    <a:pt x="505" y="437"/>
                  </a:lnTo>
                  <a:lnTo>
                    <a:pt x="500" y="439"/>
                  </a:lnTo>
                  <a:lnTo>
                    <a:pt x="498" y="442"/>
                  </a:lnTo>
                  <a:lnTo>
                    <a:pt x="497" y="442"/>
                  </a:lnTo>
                  <a:lnTo>
                    <a:pt x="492" y="447"/>
                  </a:lnTo>
                  <a:lnTo>
                    <a:pt x="490" y="448"/>
                  </a:lnTo>
                  <a:lnTo>
                    <a:pt x="484" y="445"/>
                  </a:lnTo>
                  <a:lnTo>
                    <a:pt x="476" y="448"/>
                  </a:lnTo>
                  <a:lnTo>
                    <a:pt x="465" y="468"/>
                  </a:lnTo>
                  <a:lnTo>
                    <a:pt x="481" y="477"/>
                  </a:lnTo>
                  <a:lnTo>
                    <a:pt x="477" y="480"/>
                  </a:lnTo>
                  <a:lnTo>
                    <a:pt x="463" y="482"/>
                  </a:lnTo>
                  <a:lnTo>
                    <a:pt x="458" y="480"/>
                  </a:lnTo>
                  <a:lnTo>
                    <a:pt x="452" y="469"/>
                  </a:lnTo>
                  <a:lnTo>
                    <a:pt x="447" y="476"/>
                  </a:lnTo>
                  <a:lnTo>
                    <a:pt x="438" y="474"/>
                  </a:lnTo>
                  <a:lnTo>
                    <a:pt x="433" y="479"/>
                  </a:lnTo>
                  <a:lnTo>
                    <a:pt x="409" y="476"/>
                  </a:lnTo>
                  <a:lnTo>
                    <a:pt x="394" y="469"/>
                  </a:lnTo>
                  <a:lnTo>
                    <a:pt x="391" y="450"/>
                  </a:lnTo>
                  <a:lnTo>
                    <a:pt x="401" y="433"/>
                  </a:lnTo>
                  <a:lnTo>
                    <a:pt x="393" y="402"/>
                  </a:lnTo>
                  <a:lnTo>
                    <a:pt x="380" y="405"/>
                  </a:lnTo>
                  <a:lnTo>
                    <a:pt x="377" y="409"/>
                  </a:lnTo>
                  <a:lnTo>
                    <a:pt x="366" y="407"/>
                  </a:lnTo>
                  <a:lnTo>
                    <a:pt x="355" y="413"/>
                  </a:lnTo>
                  <a:lnTo>
                    <a:pt x="343" y="413"/>
                  </a:lnTo>
                  <a:lnTo>
                    <a:pt x="340" y="412"/>
                  </a:lnTo>
                  <a:lnTo>
                    <a:pt x="339" y="389"/>
                  </a:lnTo>
                  <a:lnTo>
                    <a:pt x="319" y="389"/>
                  </a:lnTo>
                  <a:lnTo>
                    <a:pt x="284" y="407"/>
                  </a:lnTo>
                  <a:lnTo>
                    <a:pt x="278" y="405"/>
                  </a:lnTo>
                  <a:lnTo>
                    <a:pt x="267" y="396"/>
                  </a:lnTo>
                  <a:lnTo>
                    <a:pt x="270" y="359"/>
                  </a:lnTo>
                  <a:lnTo>
                    <a:pt x="299" y="337"/>
                  </a:lnTo>
                  <a:lnTo>
                    <a:pt x="286" y="316"/>
                  </a:lnTo>
                  <a:lnTo>
                    <a:pt x="281" y="314"/>
                  </a:lnTo>
                  <a:lnTo>
                    <a:pt x="281" y="311"/>
                  </a:lnTo>
                  <a:lnTo>
                    <a:pt x="273" y="305"/>
                  </a:lnTo>
                  <a:lnTo>
                    <a:pt x="270" y="297"/>
                  </a:lnTo>
                  <a:lnTo>
                    <a:pt x="262" y="289"/>
                  </a:lnTo>
                  <a:lnTo>
                    <a:pt x="252" y="286"/>
                  </a:lnTo>
                  <a:lnTo>
                    <a:pt x="249" y="283"/>
                  </a:lnTo>
                  <a:lnTo>
                    <a:pt x="254" y="270"/>
                  </a:lnTo>
                  <a:lnTo>
                    <a:pt x="267" y="260"/>
                  </a:lnTo>
                  <a:lnTo>
                    <a:pt x="268" y="254"/>
                  </a:lnTo>
                  <a:lnTo>
                    <a:pt x="265" y="216"/>
                  </a:lnTo>
                  <a:lnTo>
                    <a:pt x="254" y="211"/>
                  </a:lnTo>
                  <a:lnTo>
                    <a:pt x="248" y="222"/>
                  </a:lnTo>
                  <a:lnTo>
                    <a:pt x="221" y="212"/>
                  </a:lnTo>
                  <a:lnTo>
                    <a:pt x="206" y="212"/>
                  </a:lnTo>
                  <a:lnTo>
                    <a:pt x="200" y="208"/>
                  </a:lnTo>
                  <a:lnTo>
                    <a:pt x="200" y="203"/>
                  </a:lnTo>
                  <a:lnTo>
                    <a:pt x="201" y="192"/>
                  </a:lnTo>
                  <a:lnTo>
                    <a:pt x="198" y="171"/>
                  </a:lnTo>
                  <a:lnTo>
                    <a:pt x="193" y="161"/>
                  </a:lnTo>
                  <a:lnTo>
                    <a:pt x="165" y="155"/>
                  </a:lnTo>
                  <a:lnTo>
                    <a:pt x="158" y="149"/>
                  </a:lnTo>
                  <a:lnTo>
                    <a:pt x="160" y="137"/>
                  </a:lnTo>
                  <a:lnTo>
                    <a:pt x="152" y="129"/>
                  </a:lnTo>
                  <a:lnTo>
                    <a:pt x="139" y="125"/>
                  </a:lnTo>
                  <a:lnTo>
                    <a:pt x="136" y="117"/>
                  </a:lnTo>
                  <a:lnTo>
                    <a:pt x="142" y="98"/>
                  </a:lnTo>
                  <a:lnTo>
                    <a:pt x="86" y="93"/>
                  </a:lnTo>
                  <a:lnTo>
                    <a:pt x="72" y="110"/>
                  </a:lnTo>
                  <a:lnTo>
                    <a:pt x="67" y="126"/>
                  </a:lnTo>
                  <a:lnTo>
                    <a:pt x="53" y="123"/>
                  </a:lnTo>
                  <a:lnTo>
                    <a:pt x="50" y="112"/>
                  </a:lnTo>
                  <a:lnTo>
                    <a:pt x="43" y="102"/>
                  </a:lnTo>
                  <a:lnTo>
                    <a:pt x="27" y="91"/>
                  </a:lnTo>
                  <a:lnTo>
                    <a:pt x="29" y="85"/>
                  </a:lnTo>
                  <a:lnTo>
                    <a:pt x="26" y="82"/>
                  </a:lnTo>
                  <a:lnTo>
                    <a:pt x="15" y="80"/>
                  </a:lnTo>
                  <a:lnTo>
                    <a:pt x="0" y="83"/>
                  </a:lnTo>
                  <a:lnTo>
                    <a:pt x="0" y="70"/>
                  </a:lnTo>
                  <a:lnTo>
                    <a:pt x="4" y="35"/>
                  </a:lnTo>
                  <a:lnTo>
                    <a:pt x="8" y="26"/>
                  </a:lnTo>
                  <a:lnTo>
                    <a:pt x="59" y="27"/>
                  </a:lnTo>
                  <a:lnTo>
                    <a:pt x="93" y="34"/>
                  </a:lnTo>
                  <a:lnTo>
                    <a:pt x="99" y="51"/>
                  </a:lnTo>
                  <a:lnTo>
                    <a:pt x="112" y="54"/>
                  </a:lnTo>
                  <a:lnTo>
                    <a:pt x="117" y="61"/>
                  </a:lnTo>
                  <a:lnTo>
                    <a:pt x="125" y="64"/>
                  </a:lnTo>
                  <a:lnTo>
                    <a:pt x="131" y="70"/>
                  </a:lnTo>
                  <a:lnTo>
                    <a:pt x="136" y="72"/>
                  </a:lnTo>
                  <a:lnTo>
                    <a:pt x="173" y="69"/>
                  </a:lnTo>
                  <a:lnTo>
                    <a:pt x="185" y="58"/>
                  </a:lnTo>
                  <a:lnTo>
                    <a:pt x="193" y="43"/>
                  </a:lnTo>
                  <a:lnTo>
                    <a:pt x="195" y="29"/>
                  </a:lnTo>
                  <a:lnTo>
                    <a:pt x="201" y="27"/>
                  </a:lnTo>
                  <a:lnTo>
                    <a:pt x="272" y="34"/>
                  </a:lnTo>
                  <a:lnTo>
                    <a:pt x="292" y="32"/>
                  </a:lnTo>
                  <a:lnTo>
                    <a:pt x="343" y="35"/>
                  </a:lnTo>
                  <a:lnTo>
                    <a:pt x="350" y="34"/>
                  </a:lnTo>
                  <a:lnTo>
                    <a:pt x="356" y="37"/>
                  </a:lnTo>
                  <a:lnTo>
                    <a:pt x="391" y="38"/>
                  </a:lnTo>
                  <a:lnTo>
                    <a:pt x="407" y="34"/>
                  </a:lnTo>
                  <a:lnTo>
                    <a:pt x="417" y="15"/>
                  </a:lnTo>
                  <a:lnTo>
                    <a:pt x="420" y="11"/>
                  </a:lnTo>
                  <a:lnTo>
                    <a:pt x="454" y="10"/>
                  </a:lnTo>
                  <a:lnTo>
                    <a:pt x="476" y="0"/>
                  </a:lnTo>
                  <a:lnTo>
                    <a:pt x="493" y="8"/>
                  </a:lnTo>
                  <a:lnTo>
                    <a:pt x="519" y="16"/>
                  </a:lnTo>
                  <a:lnTo>
                    <a:pt x="537" y="29"/>
                  </a:lnTo>
                  <a:lnTo>
                    <a:pt x="548" y="31"/>
                  </a:lnTo>
                  <a:lnTo>
                    <a:pt x="564" y="38"/>
                  </a:lnTo>
                  <a:lnTo>
                    <a:pt x="572" y="53"/>
                  </a:lnTo>
                  <a:lnTo>
                    <a:pt x="575" y="9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/>
            <a:lstStyle/>
            <a:p>
              <a:pPr algn="ctr"/>
              <a:endParaRPr lang="en-US" sz="800" dirty="0"/>
            </a:p>
          </p:txBody>
        </p:sp>
        <p:sp>
          <p:nvSpPr>
            <p:cNvPr id="17" name="Freeform 201">
              <a:extLst>
                <a:ext uri="{FF2B5EF4-FFF2-40B4-BE49-F238E27FC236}">
                  <a16:creationId xmlns:a16="http://schemas.microsoft.com/office/drawing/2014/main" id="{BA60753A-D5D6-44E2-831B-DE8D834D10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5700" y="3735388"/>
              <a:ext cx="866775" cy="1344612"/>
            </a:xfrm>
            <a:custGeom>
              <a:avLst/>
              <a:gdLst>
                <a:gd name="T0" fmla="*/ 535 w 546"/>
                <a:gd name="T1" fmla="*/ 20 h 847"/>
                <a:gd name="T2" fmla="*/ 524 w 546"/>
                <a:gd name="T3" fmla="*/ 43 h 847"/>
                <a:gd name="T4" fmla="*/ 508 w 546"/>
                <a:gd name="T5" fmla="*/ 67 h 847"/>
                <a:gd name="T6" fmla="*/ 495 w 546"/>
                <a:gd name="T7" fmla="*/ 121 h 847"/>
                <a:gd name="T8" fmla="*/ 488 w 546"/>
                <a:gd name="T9" fmla="*/ 153 h 847"/>
                <a:gd name="T10" fmla="*/ 477 w 546"/>
                <a:gd name="T11" fmla="*/ 183 h 847"/>
                <a:gd name="T12" fmla="*/ 447 w 546"/>
                <a:gd name="T13" fmla="*/ 201 h 847"/>
                <a:gd name="T14" fmla="*/ 447 w 546"/>
                <a:gd name="T15" fmla="*/ 220 h 847"/>
                <a:gd name="T16" fmla="*/ 434 w 546"/>
                <a:gd name="T17" fmla="*/ 240 h 847"/>
                <a:gd name="T18" fmla="*/ 437 w 546"/>
                <a:gd name="T19" fmla="*/ 285 h 847"/>
                <a:gd name="T20" fmla="*/ 426 w 546"/>
                <a:gd name="T21" fmla="*/ 319 h 847"/>
                <a:gd name="T22" fmla="*/ 401 w 546"/>
                <a:gd name="T23" fmla="*/ 327 h 847"/>
                <a:gd name="T24" fmla="*/ 364 w 546"/>
                <a:gd name="T25" fmla="*/ 352 h 847"/>
                <a:gd name="T26" fmla="*/ 348 w 546"/>
                <a:gd name="T27" fmla="*/ 368 h 847"/>
                <a:gd name="T28" fmla="*/ 359 w 546"/>
                <a:gd name="T29" fmla="*/ 394 h 847"/>
                <a:gd name="T30" fmla="*/ 354 w 546"/>
                <a:gd name="T31" fmla="*/ 424 h 847"/>
                <a:gd name="T32" fmla="*/ 337 w 546"/>
                <a:gd name="T33" fmla="*/ 483 h 847"/>
                <a:gd name="T34" fmla="*/ 323 w 546"/>
                <a:gd name="T35" fmla="*/ 507 h 847"/>
                <a:gd name="T36" fmla="*/ 302 w 546"/>
                <a:gd name="T37" fmla="*/ 534 h 847"/>
                <a:gd name="T38" fmla="*/ 286 w 546"/>
                <a:gd name="T39" fmla="*/ 539 h 847"/>
                <a:gd name="T40" fmla="*/ 252 w 546"/>
                <a:gd name="T41" fmla="*/ 539 h 847"/>
                <a:gd name="T42" fmla="*/ 252 w 546"/>
                <a:gd name="T43" fmla="*/ 563 h 847"/>
                <a:gd name="T44" fmla="*/ 233 w 546"/>
                <a:gd name="T45" fmla="*/ 572 h 847"/>
                <a:gd name="T46" fmla="*/ 217 w 546"/>
                <a:gd name="T47" fmla="*/ 587 h 847"/>
                <a:gd name="T48" fmla="*/ 206 w 546"/>
                <a:gd name="T49" fmla="*/ 599 h 847"/>
                <a:gd name="T50" fmla="*/ 198 w 546"/>
                <a:gd name="T51" fmla="*/ 654 h 847"/>
                <a:gd name="T52" fmla="*/ 193 w 546"/>
                <a:gd name="T53" fmla="*/ 694 h 847"/>
                <a:gd name="T54" fmla="*/ 157 w 546"/>
                <a:gd name="T55" fmla="*/ 740 h 847"/>
                <a:gd name="T56" fmla="*/ 147 w 546"/>
                <a:gd name="T57" fmla="*/ 765 h 847"/>
                <a:gd name="T58" fmla="*/ 136 w 546"/>
                <a:gd name="T59" fmla="*/ 820 h 847"/>
                <a:gd name="T60" fmla="*/ 117 w 546"/>
                <a:gd name="T61" fmla="*/ 847 h 847"/>
                <a:gd name="T62" fmla="*/ 94 w 546"/>
                <a:gd name="T63" fmla="*/ 812 h 847"/>
                <a:gd name="T64" fmla="*/ 91 w 546"/>
                <a:gd name="T65" fmla="*/ 802 h 847"/>
                <a:gd name="T66" fmla="*/ 101 w 546"/>
                <a:gd name="T67" fmla="*/ 776 h 847"/>
                <a:gd name="T68" fmla="*/ 91 w 546"/>
                <a:gd name="T69" fmla="*/ 753 h 847"/>
                <a:gd name="T70" fmla="*/ 64 w 546"/>
                <a:gd name="T71" fmla="*/ 722 h 847"/>
                <a:gd name="T72" fmla="*/ 30 w 546"/>
                <a:gd name="T73" fmla="*/ 725 h 847"/>
                <a:gd name="T74" fmla="*/ 27 w 546"/>
                <a:gd name="T75" fmla="*/ 737 h 847"/>
                <a:gd name="T76" fmla="*/ 0 w 546"/>
                <a:gd name="T77" fmla="*/ 671 h 847"/>
                <a:gd name="T78" fmla="*/ 48 w 546"/>
                <a:gd name="T79" fmla="*/ 603 h 847"/>
                <a:gd name="T80" fmla="*/ 70 w 546"/>
                <a:gd name="T81" fmla="*/ 577 h 847"/>
                <a:gd name="T82" fmla="*/ 97 w 546"/>
                <a:gd name="T83" fmla="*/ 532 h 847"/>
                <a:gd name="T84" fmla="*/ 112 w 546"/>
                <a:gd name="T85" fmla="*/ 453 h 847"/>
                <a:gd name="T86" fmla="*/ 78 w 546"/>
                <a:gd name="T87" fmla="*/ 387 h 847"/>
                <a:gd name="T88" fmla="*/ 29 w 546"/>
                <a:gd name="T89" fmla="*/ 309 h 847"/>
                <a:gd name="T90" fmla="*/ 61 w 546"/>
                <a:gd name="T91" fmla="*/ 309 h 847"/>
                <a:gd name="T92" fmla="*/ 102 w 546"/>
                <a:gd name="T93" fmla="*/ 276 h 847"/>
                <a:gd name="T94" fmla="*/ 126 w 546"/>
                <a:gd name="T95" fmla="*/ 223 h 847"/>
                <a:gd name="T96" fmla="*/ 155 w 546"/>
                <a:gd name="T97" fmla="*/ 172 h 847"/>
                <a:gd name="T98" fmla="*/ 179 w 546"/>
                <a:gd name="T99" fmla="*/ 145 h 847"/>
                <a:gd name="T100" fmla="*/ 206 w 546"/>
                <a:gd name="T101" fmla="*/ 121 h 847"/>
                <a:gd name="T102" fmla="*/ 243 w 546"/>
                <a:gd name="T103" fmla="*/ 126 h 847"/>
                <a:gd name="T104" fmla="*/ 275 w 546"/>
                <a:gd name="T105" fmla="*/ 119 h 847"/>
                <a:gd name="T106" fmla="*/ 294 w 546"/>
                <a:gd name="T107" fmla="*/ 92 h 847"/>
                <a:gd name="T108" fmla="*/ 307 w 546"/>
                <a:gd name="T109" fmla="*/ 78 h 847"/>
                <a:gd name="T110" fmla="*/ 329 w 546"/>
                <a:gd name="T111" fmla="*/ 70 h 847"/>
                <a:gd name="T112" fmla="*/ 364 w 546"/>
                <a:gd name="T113" fmla="*/ 81 h 847"/>
                <a:gd name="T114" fmla="*/ 401 w 546"/>
                <a:gd name="T115" fmla="*/ 108 h 847"/>
                <a:gd name="T116" fmla="*/ 439 w 546"/>
                <a:gd name="T117" fmla="*/ 87 h 847"/>
                <a:gd name="T118" fmla="*/ 442 w 546"/>
                <a:gd name="T119" fmla="*/ 54 h 847"/>
                <a:gd name="T120" fmla="*/ 450 w 546"/>
                <a:gd name="T121" fmla="*/ 38 h 847"/>
                <a:gd name="T122" fmla="*/ 496 w 546"/>
                <a:gd name="T123" fmla="*/ 9 h 8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6" h="847">
                  <a:moveTo>
                    <a:pt x="546" y="3"/>
                  </a:moveTo>
                  <a:lnTo>
                    <a:pt x="544" y="11"/>
                  </a:lnTo>
                  <a:lnTo>
                    <a:pt x="538" y="14"/>
                  </a:lnTo>
                  <a:lnTo>
                    <a:pt x="535" y="20"/>
                  </a:lnTo>
                  <a:lnTo>
                    <a:pt x="530" y="20"/>
                  </a:lnTo>
                  <a:lnTo>
                    <a:pt x="528" y="27"/>
                  </a:lnTo>
                  <a:lnTo>
                    <a:pt x="532" y="28"/>
                  </a:lnTo>
                  <a:lnTo>
                    <a:pt x="524" y="43"/>
                  </a:lnTo>
                  <a:lnTo>
                    <a:pt x="514" y="49"/>
                  </a:lnTo>
                  <a:lnTo>
                    <a:pt x="516" y="55"/>
                  </a:lnTo>
                  <a:lnTo>
                    <a:pt x="512" y="62"/>
                  </a:lnTo>
                  <a:lnTo>
                    <a:pt x="508" y="67"/>
                  </a:lnTo>
                  <a:lnTo>
                    <a:pt x="512" y="87"/>
                  </a:lnTo>
                  <a:lnTo>
                    <a:pt x="503" y="100"/>
                  </a:lnTo>
                  <a:lnTo>
                    <a:pt x="504" y="113"/>
                  </a:lnTo>
                  <a:lnTo>
                    <a:pt x="495" y="121"/>
                  </a:lnTo>
                  <a:lnTo>
                    <a:pt x="496" y="132"/>
                  </a:lnTo>
                  <a:lnTo>
                    <a:pt x="492" y="134"/>
                  </a:lnTo>
                  <a:lnTo>
                    <a:pt x="493" y="143"/>
                  </a:lnTo>
                  <a:lnTo>
                    <a:pt x="488" y="153"/>
                  </a:lnTo>
                  <a:lnTo>
                    <a:pt x="492" y="167"/>
                  </a:lnTo>
                  <a:lnTo>
                    <a:pt x="488" y="169"/>
                  </a:lnTo>
                  <a:lnTo>
                    <a:pt x="488" y="173"/>
                  </a:lnTo>
                  <a:lnTo>
                    <a:pt x="477" y="183"/>
                  </a:lnTo>
                  <a:lnTo>
                    <a:pt x="461" y="188"/>
                  </a:lnTo>
                  <a:lnTo>
                    <a:pt x="460" y="185"/>
                  </a:lnTo>
                  <a:lnTo>
                    <a:pt x="449" y="193"/>
                  </a:lnTo>
                  <a:lnTo>
                    <a:pt x="447" y="201"/>
                  </a:lnTo>
                  <a:lnTo>
                    <a:pt x="436" y="204"/>
                  </a:lnTo>
                  <a:lnTo>
                    <a:pt x="437" y="213"/>
                  </a:lnTo>
                  <a:lnTo>
                    <a:pt x="444" y="215"/>
                  </a:lnTo>
                  <a:lnTo>
                    <a:pt x="447" y="220"/>
                  </a:lnTo>
                  <a:lnTo>
                    <a:pt x="444" y="228"/>
                  </a:lnTo>
                  <a:lnTo>
                    <a:pt x="437" y="231"/>
                  </a:lnTo>
                  <a:lnTo>
                    <a:pt x="434" y="234"/>
                  </a:lnTo>
                  <a:lnTo>
                    <a:pt x="434" y="240"/>
                  </a:lnTo>
                  <a:lnTo>
                    <a:pt x="436" y="245"/>
                  </a:lnTo>
                  <a:lnTo>
                    <a:pt x="449" y="255"/>
                  </a:lnTo>
                  <a:lnTo>
                    <a:pt x="437" y="269"/>
                  </a:lnTo>
                  <a:lnTo>
                    <a:pt x="437" y="285"/>
                  </a:lnTo>
                  <a:lnTo>
                    <a:pt x="433" y="290"/>
                  </a:lnTo>
                  <a:lnTo>
                    <a:pt x="434" y="303"/>
                  </a:lnTo>
                  <a:lnTo>
                    <a:pt x="431" y="312"/>
                  </a:lnTo>
                  <a:lnTo>
                    <a:pt x="426" y="319"/>
                  </a:lnTo>
                  <a:lnTo>
                    <a:pt x="423" y="319"/>
                  </a:lnTo>
                  <a:lnTo>
                    <a:pt x="420" y="323"/>
                  </a:lnTo>
                  <a:lnTo>
                    <a:pt x="410" y="323"/>
                  </a:lnTo>
                  <a:lnTo>
                    <a:pt x="401" y="327"/>
                  </a:lnTo>
                  <a:lnTo>
                    <a:pt x="398" y="330"/>
                  </a:lnTo>
                  <a:lnTo>
                    <a:pt x="386" y="330"/>
                  </a:lnTo>
                  <a:lnTo>
                    <a:pt x="372" y="339"/>
                  </a:lnTo>
                  <a:lnTo>
                    <a:pt x="364" y="352"/>
                  </a:lnTo>
                  <a:lnTo>
                    <a:pt x="350" y="357"/>
                  </a:lnTo>
                  <a:lnTo>
                    <a:pt x="348" y="363"/>
                  </a:lnTo>
                  <a:lnTo>
                    <a:pt x="343" y="362"/>
                  </a:lnTo>
                  <a:lnTo>
                    <a:pt x="348" y="368"/>
                  </a:lnTo>
                  <a:lnTo>
                    <a:pt x="358" y="366"/>
                  </a:lnTo>
                  <a:lnTo>
                    <a:pt x="361" y="371"/>
                  </a:lnTo>
                  <a:lnTo>
                    <a:pt x="358" y="376"/>
                  </a:lnTo>
                  <a:lnTo>
                    <a:pt x="359" y="394"/>
                  </a:lnTo>
                  <a:lnTo>
                    <a:pt x="353" y="408"/>
                  </a:lnTo>
                  <a:lnTo>
                    <a:pt x="353" y="411"/>
                  </a:lnTo>
                  <a:lnTo>
                    <a:pt x="351" y="416"/>
                  </a:lnTo>
                  <a:lnTo>
                    <a:pt x="354" y="424"/>
                  </a:lnTo>
                  <a:lnTo>
                    <a:pt x="334" y="472"/>
                  </a:lnTo>
                  <a:lnTo>
                    <a:pt x="337" y="473"/>
                  </a:lnTo>
                  <a:lnTo>
                    <a:pt x="334" y="478"/>
                  </a:lnTo>
                  <a:lnTo>
                    <a:pt x="337" y="483"/>
                  </a:lnTo>
                  <a:lnTo>
                    <a:pt x="332" y="485"/>
                  </a:lnTo>
                  <a:lnTo>
                    <a:pt x="335" y="491"/>
                  </a:lnTo>
                  <a:lnTo>
                    <a:pt x="327" y="512"/>
                  </a:lnTo>
                  <a:lnTo>
                    <a:pt x="323" y="507"/>
                  </a:lnTo>
                  <a:lnTo>
                    <a:pt x="313" y="507"/>
                  </a:lnTo>
                  <a:lnTo>
                    <a:pt x="310" y="516"/>
                  </a:lnTo>
                  <a:lnTo>
                    <a:pt x="308" y="528"/>
                  </a:lnTo>
                  <a:lnTo>
                    <a:pt x="302" y="534"/>
                  </a:lnTo>
                  <a:lnTo>
                    <a:pt x="299" y="532"/>
                  </a:lnTo>
                  <a:lnTo>
                    <a:pt x="292" y="536"/>
                  </a:lnTo>
                  <a:lnTo>
                    <a:pt x="287" y="536"/>
                  </a:lnTo>
                  <a:lnTo>
                    <a:pt x="286" y="539"/>
                  </a:lnTo>
                  <a:lnTo>
                    <a:pt x="279" y="542"/>
                  </a:lnTo>
                  <a:lnTo>
                    <a:pt x="262" y="534"/>
                  </a:lnTo>
                  <a:lnTo>
                    <a:pt x="259" y="534"/>
                  </a:lnTo>
                  <a:lnTo>
                    <a:pt x="252" y="539"/>
                  </a:lnTo>
                  <a:lnTo>
                    <a:pt x="246" y="539"/>
                  </a:lnTo>
                  <a:lnTo>
                    <a:pt x="249" y="553"/>
                  </a:lnTo>
                  <a:lnTo>
                    <a:pt x="252" y="556"/>
                  </a:lnTo>
                  <a:lnTo>
                    <a:pt x="252" y="563"/>
                  </a:lnTo>
                  <a:lnTo>
                    <a:pt x="243" y="571"/>
                  </a:lnTo>
                  <a:lnTo>
                    <a:pt x="238" y="571"/>
                  </a:lnTo>
                  <a:lnTo>
                    <a:pt x="236" y="574"/>
                  </a:lnTo>
                  <a:lnTo>
                    <a:pt x="233" y="572"/>
                  </a:lnTo>
                  <a:lnTo>
                    <a:pt x="228" y="575"/>
                  </a:lnTo>
                  <a:lnTo>
                    <a:pt x="224" y="580"/>
                  </a:lnTo>
                  <a:lnTo>
                    <a:pt x="224" y="585"/>
                  </a:lnTo>
                  <a:lnTo>
                    <a:pt x="217" y="587"/>
                  </a:lnTo>
                  <a:lnTo>
                    <a:pt x="212" y="582"/>
                  </a:lnTo>
                  <a:lnTo>
                    <a:pt x="206" y="583"/>
                  </a:lnTo>
                  <a:lnTo>
                    <a:pt x="203" y="593"/>
                  </a:lnTo>
                  <a:lnTo>
                    <a:pt x="206" y="599"/>
                  </a:lnTo>
                  <a:lnTo>
                    <a:pt x="203" y="601"/>
                  </a:lnTo>
                  <a:lnTo>
                    <a:pt x="201" y="607"/>
                  </a:lnTo>
                  <a:lnTo>
                    <a:pt x="204" y="644"/>
                  </a:lnTo>
                  <a:lnTo>
                    <a:pt x="198" y="654"/>
                  </a:lnTo>
                  <a:lnTo>
                    <a:pt x="200" y="655"/>
                  </a:lnTo>
                  <a:lnTo>
                    <a:pt x="193" y="662"/>
                  </a:lnTo>
                  <a:lnTo>
                    <a:pt x="196" y="687"/>
                  </a:lnTo>
                  <a:lnTo>
                    <a:pt x="193" y="694"/>
                  </a:lnTo>
                  <a:lnTo>
                    <a:pt x="188" y="697"/>
                  </a:lnTo>
                  <a:lnTo>
                    <a:pt x="190" y="700"/>
                  </a:lnTo>
                  <a:lnTo>
                    <a:pt x="166" y="724"/>
                  </a:lnTo>
                  <a:lnTo>
                    <a:pt x="157" y="740"/>
                  </a:lnTo>
                  <a:lnTo>
                    <a:pt x="157" y="743"/>
                  </a:lnTo>
                  <a:lnTo>
                    <a:pt x="152" y="753"/>
                  </a:lnTo>
                  <a:lnTo>
                    <a:pt x="150" y="765"/>
                  </a:lnTo>
                  <a:lnTo>
                    <a:pt x="147" y="765"/>
                  </a:lnTo>
                  <a:lnTo>
                    <a:pt x="149" y="796"/>
                  </a:lnTo>
                  <a:lnTo>
                    <a:pt x="152" y="799"/>
                  </a:lnTo>
                  <a:lnTo>
                    <a:pt x="139" y="807"/>
                  </a:lnTo>
                  <a:lnTo>
                    <a:pt x="136" y="820"/>
                  </a:lnTo>
                  <a:lnTo>
                    <a:pt x="131" y="821"/>
                  </a:lnTo>
                  <a:lnTo>
                    <a:pt x="131" y="831"/>
                  </a:lnTo>
                  <a:lnTo>
                    <a:pt x="120" y="840"/>
                  </a:lnTo>
                  <a:lnTo>
                    <a:pt x="117" y="847"/>
                  </a:lnTo>
                  <a:lnTo>
                    <a:pt x="109" y="826"/>
                  </a:lnTo>
                  <a:lnTo>
                    <a:pt x="102" y="818"/>
                  </a:lnTo>
                  <a:lnTo>
                    <a:pt x="96" y="816"/>
                  </a:lnTo>
                  <a:lnTo>
                    <a:pt x="94" y="812"/>
                  </a:lnTo>
                  <a:lnTo>
                    <a:pt x="91" y="812"/>
                  </a:lnTo>
                  <a:lnTo>
                    <a:pt x="93" y="808"/>
                  </a:lnTo>
                  <a:lnTo>
                    <a:pt x="88" y="805"/>
                  </a:lnTo>
                  <a:lnTo>
                    <a:pt x="91" y="802"/>
                  </a:lnTo>
                  <a:lnTo>
                    <a:pt x="88" y="797"/>
                  </a:lnTo>
                  <a:lnTo>
                    <a:pt x="91" y="791"/>
                  </a:lnTo>
                  <a:lnTo>
                    <a:pt x="88" y="781"/>
                  </a:lnTo>
                  <a:lnTo>
                    <a:pt x="101" y="776"/>
                  </a:lnTo>
                  <a:lnTo>
                    <a:pt x="96" y="772"/>
                  </a:lnTo>
                  <a:lnTo>
                    <a:pt x="90" y="769"/>
                  </a:lnTo>
                  <a:lnTo>
                    <a:pt x="93" y="759"/>
                  </a:lnTo>
                  <a:lnTo>
                    <a:pt x="91" y="753"/>
                  </a:lnTo>
                  <a:lnTo>
                    <a:pt x="83" y="741"/>
                  </a:lnTo>
                  <a:lnTo>
                    <a:pt x="70" y="735"/>
                  </a:lnTo>
                  <a:lnTo>
                    <a:pt x="66" y="729"/>
                  </a:lnTo>
                  <a:lnTo>
                    <a:pt x="64" y="722"/>
                  </a:lnTo>
                  <a:lnTo>
                    <a:pt x="56" y="717"/>
                  </a:lnTo>
                  <a:lnTo>
                    <a:pt x="48" y="708"/>
                  </a:lnTo>
                  <a:lnTo>
                    <a:pt x="35" y="709"/>
                  </a:lnTo>
                  <a:lnTo>
                    <a:pt x="30" y="725"/>
                  </a:lnTo>
                  <a:lnTo>
                    <a:pt x="32" y="729"/>
                  </a:lnTo>
                  <a:lnTo>
                    <a:pt x="30" y="732"/>
                  </a:lnTo>
                  <a:lnTo>
                    <a:pt x="27" y="730"/>
                  </a:lnTo>
                  <a:lnTo>
                    <a:pt x="27" y="737"/>
                  </a:lnTo>
                  <a:lnTo>
                    <a:pt x="18" y="737"/>
                  </a:lnTo>
                  <a:lnTo>
                    <a:pt x="8" y="717"/>
                  </a:lnTo>
                  <a:lnTo>
                    <a:pt x="2" y="692"/>
                  </a:lnTo>
                  <a:lnTo>
                    <a:pt x="0" y="671"/>
                  </a:lnTo>
                  <a:lnTo>
                    <a:pt x="24" y="642"/>
                  </a:lnTo>
                  <a:lnTo>
                    <a:pt x="34" y="628"/>
                  </a:lnTo>
                  <a:lnTo>
                    <a:pt x="38" y="612"/>
                  </a:lnTo>
                  <a:lnTo>
                    <a:pt x="48" y="603"/>
                  </a:lnTo>
                  <a:lnTo>
                    <a:pt x="54" y="591"/>
                  </a:lnTo>
                  <a:lnTo>
                    <a:pt x="59" y="588"/>
                  </a:lnTo>
                  <a:lnTo>
                    <a:pt x="62" y="582"/>
                  </a:lnTo>
                  <a:lnTo>
                    <a:pt x="70" y="577"/>
                  </a:lnTo>
                  <a:lnTo>
                    <a:pt x="83" y="575"/>
                  </a:lnTo>
                  <a:lnTo>
                    <a:pt x="93" y="561"/>
                  </a:lnTo>
                  <a:lnTo>
                    <a:pt x="96" y="555"/>
                  </a:lnTo>
                  <a:lnTo>
                    <a:pt x="97" y="532"/>
                  </a:lnTo>
                  <a:lnTo>
                    <a:pt x="115" y="494"/>
                  </a:lnTo>
                  <a:lnTo>
                    <a:pt x="121" y="477"/>
                  </a:lnTo>
                  <a:lnTo>
                    <a:pt x="120" y="467"/>
                  </a:lnTo>
                  <a:lnTo>
                    <a:pt x="112" y="453"/>
                  </a:lnTo>
                  <a:lnTo>
                    <a:pt x="90" y="437"/>
                  </a:lnTo>
                  <a:lnTo>
                    <a:pt x="83" y="411"/>
                  </a:lnTo>
                  <a:lnTo>
                    <a:pt x="83" y="395"/>
                  </a:lnTo>
                  <a:lnTo>
                    <a:pt x="78" y="387"/>
                  </a:lnTo>
                  <a:lnTo>
                    <a:pt x="62" y="368"/>
                  </a:lnTo>
                  <a:lnTo>
                    <a:pt x="40" y="347"/>
                  </a:lnTo>
                  <a:lnTo>
                    <a:pt x="19" y="314"/>
                  </a:lnTo>
                  <a:lnTo>
                    <a:pt x="29" y="309"/>
                  </a:lnTo>
                  <a:lnTo>
                    <a:pt x="37" y="311"/>
                  </a:lnTo>
                  <a:lnTo>
                    <a:pt x="43" y="315"/>
                  </a:lnTo>
                  <a:lnTo>
                    <a:pt x="50" y="314"/>
                  </a:lnTo>
                  <a:lnTo>
                    <a:pt x="61" y="309"/>
                  </a:lnTo>
                  <a:lnTo>
                    <a:pt x="62" y="301"/>
                  </a:lnTo>
                  <a:lnTo>
                    <a:pt x="72" y="290"/>
                  </a:lnTo>
                  <a:lnTo>
                    <a:pt x="90" y="279"/>
                  </a:lnTo>
                  <a:lnTo>
                    <a:pt x="102" y="276"/>
                  </a:lnTo>
                  <a:lnTo>
                    <a:pt x="118" y="266"/>
                  </a:lnTo>
                  <a:lnTo>
                    <a:pt x="128" y="255"/>
                  </a:lnTo>
                  <a:lnTo>
                    <a:pt x="129" y="231"/>
                  </a:lnTo>
                  <a:lnTo>
                    <a:pt x="126" y="223"/>
                  </a:lnTo>
                  <a:lnTo>
                    <a:pt x="139" y="220"/>
                  </a:lnTo>
                  <a:lnTo>
                    <a:pt x="142" y="205"/>
                  </a:lnTo>
                  <a:lnTo>
                    <a:pt x="153" y="191"/>
                  </a:lnTo>
                  <a:lnTo>
                    <a:pt x="155" y="172"/>
                  </a:lnTo>
                  <a:lnTo>
                    <a:pt x="161" y="167"/>
                  </a:lnTo>
                  <a:lnTo>
                    <a:pt x="172" y="153"/>
                  </a:lnTo>
                  <a:lnTo>
                    <a:pt x="179" y="150"/>
                  </a:lnTo>
                  <a:lnTo>
                    <a:pt x="179" y="145"/>
                  </a:lnTo>
                  <a:lnTo>
                    <a:pt x="187" y="137"/>
                  </a:lnTo>
                  <a:lnTo>
                    <a:pt x="195" y="132"/>
                  </a:lnTo>
                  <a:lnTo>
                    <a:pt x="200" y="121"/>
                  </a:lnTo>
                  <a:lnTo>
                    <a:pt x="206" y="121"/>
                  </a:lnTo>
                  <a:lnTo>
                    <a:pt x="220" y="127"/>
                  </a:lnTo>
                  <a:lnTo>
                    <a:pt x="224" y="126"/>
                  </a:lnTo>
                  <a:lnTo>
                    <a:pt x="230" y="130"/>
                  </a:lnTo>
                  <a:lnTo>
                    <a:pt x="243" y="126"/>
                  </a:lnTo>
                  <a:lnTo>
                    <a:pt x="263" y="122"/>
                  </a:lnTo>
                  <a:lnTo>
                    <a:pt x="268" y="118"/>
                  </a:lnTo>
                  <a:lnTo>
                    <a:pt x="273" y="121"/>
                  </a:lnTo>
                  <a:lnTo>
                    <a:pt x="275" y="119"/>
                  </a:lnTo>
                  <a:lnTo>
                    <a:pt x="275" y="108"/>
                  </a:lnTo>
                  <a:lnTo>
                    <a:pt x="279" y="97"/>
                  </a:lnTo>
                  <a:lnTo>
                    <a:pt x="287" y="98"/>
                  </a:lnTo>
                  <a:lnTo>
                    <a:pt x="294" y="92"/>
                  </a:lnTo>
                  <a:lnTo>
                    <a:pt x="294" y="86"/>
                  </a:lnTo>
                  <a:lnTo>
                    <a:pt x="297" y="79"/>
                  </a:lnTo>
                  <a:lnTo>
                    <a:pt x="303" y="79"/>
                  </a:lnTo>
                  <a:lnTo>
                    <a:pt x="307" y="78"/>
                  </a:lnTo>
                  <a:lnTo>
                    <a:pt x="313" y="76"/>
                  </a:lnTo>
                  <a:lnTo>
                    <a:pt x="315" y="78"/>
                  </a:lnTo>
                  <a:lnTo>
                    <a:pt x="318" y="70"/>
                  </a:lnTo>
                  <a:lnTo>
                    <a:pt x="329" y="70"/>
                  </a:lnTo>
                  <a:lnTo>
                    <a:pt x="337" y="76"/>
                  </a:lnTo>
                  <a:lnTo>
                    <a:pt x="345" y="75"/>
                  </a:lnTo>
                  <a:lnTo>
                    <a:pt x="356" y="81"/>
                  </a:lnTo>
                  <a:lnTo>
                    <a:pt x="364" y="81"/>
                  </a:lnTo>
                  <a:lnTo>
                    <a:pt x="372" y="89"/>
                  </a:lnTo>
                  <a:lnTo>
                    <a:pt x="378" y="90"/>
                  </a:lnTo>
                  <a:lnTo>
                    <a:pt x="382" y="98"/>
                  </a:lnTo>
                  <a:lnTo>
                    <a:pt x="401" y="108"/>
                  </a:lnTo>
                  <a:lnTo>
                    <a:pt x="409" y="106"/>
                  </a:lnTo>
                  <a:lnTo>
                    <a:pt x="413" y="102"/>
                  </a:lnTo>
                  <a:lnTo>
                    <a:pt x="431" y="105"/>
                  </a:lnTo>
                  <a:lnTo>
                    <a:pt x="439" y="87"/>
                  </a:lnTo>
                  <a:lnTo>
                    <a:pt x="431" y="78"/>
                  </a:lnTo>
                  <a:lnTo>
                    <a:pt x="439" y="65"/>
                  </a:lnTo>
                  <a:lnTo>
                    <a:pt x="439" y="62"/>
                  </a:lnTo>
                  <a:lnTo>
                    <a:pt x="442" y="54"/>
                  </a:lnTo>
                  <a:lnTo>
                    <a:pt x="447" y="52"/>
                  </a:lnTo>
                  <a:lnTo>
                    <a:pt x="447" y="46"/>
                  </a:lnTo>
                  <a:lnTo>
                    <a:pt x="452" y="39"/>
                  </a:lnTo>
                  <a:lnTo>
                    <a:pt x="450" y="38"/>
                  </a:lnTo>
                  <a:lnTo>
                    <a:pt x="455" y="33"/>
                  </a:lnTo>
                  <a:lnTo>
                    <a:pt x="455" y="14"/>
                  </a:lnTo>
                  <a:lnTo>
                    <a:pt x="469" y="4"/>
                  </a:lnTo>
                  <a:lnTo>
                    <a:pt x="496" y="9"/>
                  </a:lnTo>
                  <a:lnTo>
                    <a:pt x="522" y="0"/>
                  </a:lnTo>
                  <a:lnTo>
                    <a:pt x="546" y="3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/>
            <a:lstStyle/>
            <a:p>
              <a:pPr algn="ctr"/>
              <a:endParaRPr lang="en-US" sz="800" dirty="0"/>
            </a:p>
          </p:txBody>
        </p:sp>
        <p:sp>
          <p:nvSpPr>
            <p:cNvPr id="18" name="Freeform 202">
              <a:extLst>
                <a:ext uri="{FF2B5EF4-FFF2-40B4-BE49-F238E27FC236}">
                  <a16:creationId xmlns:a16="http://schemas.microsoft.com/office/drawing/2014/main" id="{E0C83B02-A872-4F68-98BA-4EA59E284F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0450" y="3098800"/>
              <a:ext cx="641350" cy="769937"/>
            </a:xfrm>
            <a:custGeom>
              <a:avLst/>
              <a:gdLst>
                <a:gd name="T0" fmla="*/ 357 w 404"/>
                <a:gd name="T1" fmla="*/ 290 h 485"/>
                <a:gd name="T2" fmla="*/ 329 w 404"/>
                <a:gd name="T3" fmla="*/ 302 h 485"/>
                <a:gd name="T4" fmla="*/ 318 w 404"/>
                <a:gd name="T5" fmla="*/ 306 h 485"/>
                <a:gd name="T6" fmla="*/ 302 w 404"/>
                <a:gd name="T7" fmla="*/ 322 h 485"/>
                <a:gd name="T8" fmla="*/ 278 w 404"/>
                <a:gd name="T9" fmla="*/ 348 h 485"/>
                <a:gd name="T10" fmla="*/ 276 w 404"/>
                <a:gd name="T11" fmla="*/ 356 h 485"/>
                <a:gd name="T12" fmla="*/ 262 w 404"/>
                <a:gd name="T13" fmla="*/ 359 h 485"/>
                <a:gd name="T14" fmla="*/ 244 w 404"/>
                <a:gd name="T15" fmla="*/ 385 h 485"/>
                <a:gd name="T16" fmla="*/ 243 w 404"/>
                <a:gd name="T17" fmla="*/ 410 h 485"/>
                <a:gd name="T18" fmla="*/ 249 w 404"/>
                <a:gd name="T19" fmla="*/ 418 h 485"/>
                <a:gd name="T20" fmla="*/ 259 w 404"/>
                <a:gd name="T21" fmla="*/ 428 h 485"/>
                <a:gd name="T22" fmla="*/ 263 w 404"/>
                <a:gd name="T23" fmla="*/ 442 h 485"/>
                <a:gd name="T24" fmla="*/ 251 w 404"/>
                <a:gd name="T25" fmla="*/ 471 h 485"/>
                <a:gd name="T26" fmla="*/ 244 w 404"/>
                <a:gd name="T27" fmla="*/ 485 h 485"/>
                <a:gd name="T28" fmla="*/ 196 w 404"/>
                <a:gd name="T29" fmla="*/ 469 h 485"/>
                <a:gd name="T30" fmla="*/ 206 w 404"/>
                <a:gd name="T31" fmla="*/ 445 h 485"/>
                <a:gd name="T32" fmla="*/ 206 w 404"/>
                <a:gd name="T33" fmla="*/ 373 h 485"/>
                <a:gd name="T34" fmla="*/ 191 w 404"/>
                <a:gd name="T35" fmla="*/ 342 h 485"/>
                <a:gd name="T36" fmla="*/ 166 w 404"/>
                <a:gd name="T37" fmla="*/ 326 h 485"/>
                <a:gd name="T38" fmla="*/ 145 w 404"/>
                <a:gd name="T39" fmla="*/ 330 h 485"/>
                <a:gd name="T40" fmla="*/ 137 w 404"/>
                <a:gd name="T41" fmla="*/ 313 h 485"/>
                <a:gd name="T42" fmla="*/ 131 w 404"/>
                <a:gd name="T43" fmla="*/ 302 h 485"/>
                <a:gd name="T44" fmla="*/ 116 w 404"/>
                <a:gd name="T45" fmla="*/ 302 h 485"/>
                <a:gd name="T46" fmla="*/ 93 w 404"/>
                <a:gd name="T47" fmla="*/ 292 h 485"/>
                <a:gd name="T48" fmla="*/ 93 w 404"/>
                <a:gd name="T49" fmla="*/ 281 h 485"/>
                <a:gd name="T50" fmla="*/ 91 w 404"/>
                <a:gd name="T51" fmla="*/ 267 h 485"/>
                <a:gd name="T52" fmla="*/ 81 w 404"/>
                <a:gd name="T53" fmla="*/ 260 h 485"/>
                <a:gd name="T54" fmla="*/ 64 w 404"/>
                <a:gd name="T55" fmla="*/ 262 h 485"/>
                <a:gd name="T56" fmla="*/ 27 w 404"/>
                <a:gd name="T57" fmla="*/ 283 h 485"/>
                <a:gd name="T58" fmla="*/ 6 w 404"/>
                <a:gd name="T59" fmla="*/ 265 h 485"/>
                <a:gd name="T60" fmla="*/ 6 w 404"/>
                <a:gd name="T61" fmla="*/ 244 h 485"/>
                <a:gd name="T62" fmla="*/ 14 w 404"/>
                <a:gd name="T63" fmla="*/ 227 h 485"/>
                <a:gd name="T64" fmla="*/ 29 w 404"/>
                <a:gd name="T65" fmla="*/ 225 h 485"/>
                <a:gd name="T66" fmla="*/ 38 w 404"/>
                <a:gd name="T67" fmla="*/ 220 h 485"/>
                <a:gd name="T68" fmla="*/ 43 w 404"/>
                <a:gd name="T69" fmla="*/ 217 h 485"/>
                <a:gd name="T70" fmla="*/ 40 w 404"/>
                <a:gd name="T71" fmla="*/ 206 h 485"/>
                <a:gd name="T72" fmla="*/ 37 w 404"/>
                <a:gd name="T73" fmla="*/ 195 h 485"/>
                <a:gd name="T74" fmla="*/ 37 w 404"/>
                <a:gd name="T75" fmla="*/ 168 h 485"/>
                <a:gd name="T76" fmla="*/ 30 w 404"/>
                <a:gd name="T77" fmla="*/ 141 h 485"/>
                <a:gd name="T78" fmla="*/ 22 w 404"/>
                <a:gd name="T79" fmla="*/ 91 h 485"/>
                <a:gd name="T80" fmla="*/ 38 w 404"/>
                <a:gd name="T81" fmla="*/ 61 h 485"/>
                <a:gd name="T82" fmla="*/ 88 w 404"/>
                <a:gd name="T83" fmla="*/ 42 h 485"/>
                <a:gd name="T84" fmla="*/ 120 w 404"/>
                <a:gd name="T85" fmla="*/ 3 h 485"/>
                <a:gd name="T86" fmla="*/ 139 w 404"/>
                <a:gd name="T87" fmla="*/ 3 h 485"/>
                <a:gd name="T88" fmla="*/ 158 w 404"/>
                <a:gd name="T89" fmla="*/ 32 h 485"/>
                <a:gd name="T90" fmla="*/ 177 w 404"/>
                <a:gd name="T91" fmla="*/ 19 h 485"/>
                <a:gd name="T92" fmla="*/ 247 w 404"/>
                <a:gd name="T93" fmla="*/ 7 h 485"/>
                <a:gd name="T94" fmla="*/ 244 w 404"/>
                <a:gd name="T95" fmla="*/ 34 h 485"/>
                <a:gd name="T96" fmla="*/ 265 w 404"/>
                <a:gd name="T97" fmla="*/ 46 h 485"/>
                <a:gd name="T98" fmla="*/ 270 w 404"/>
                <a:gd name="T99" fmla="*/ 64 h 485"/>
                <a:gd name="T100" fmla="*/ 303 w 404"/>
                <a:gd name="T101" fmla="*/ 80 h 485"/>
                <a:gd name="T102" fmla="*/ 305 w 404"/>
                <a:gd name="T103" fmla="*/ 112 h 485"/>
                <a:gd name="T104" fmla="*/ 311 w 404"/>
                <a:gd name="T105" fmla="*/ 121 h 485"/>
                <a:gd name="T106" fmla="*/ 353 w 404"/>
                <a:gd name="T107" fmla="*/ 131 h 485"/>
                <a:gd name="T108" fmla="*/ 370 w 404"/>
                <a:gd name="T109" fmla="*/ 125 h 485"/>
                <a:gd name="T110" fmla="*/ 372 w 404"/>
                <a:gd name="T111" fmla="*/ 169 h 485"/>
                <a:gd name="T112" fmla="*/ 354 w 404"/>
                <a:gd name="T113" fmla="*/ 192 h 485"/>
                <a:gd name="T114" fmla="*/ 367 w 404"/>
                <a:gd name="T115" fmla="*/ 198 h 485"/>
                <a:gd name="T116" fmla="*/ 378 w 404"/>
                <a:gd name="T117" fmla="*/ 214 h 485"/>
                <a:gd name="T118" fmla="*/ 386 w 404"/>
                <a:gd name="T119" fmla="*/ 223 h 485"/>
                <a:gd name="T120" fmla="*/ 404 w 404"/>
                <a:gd name="T121" fmla="*/ 246 h 485"/>
                <a:gd name="T122" fmla="*/ 372 w 404"/>
                <a:gd name="T123" fmla="*/ 305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04" h="485">
                  <a:moveTo>
                    <a:pt x="372" y="305"/>
                  </a:moveTo>
                  <a:lnTo>
                    <a:pt x="357" y="290"/>
                  </a:lnTo>
                  <a:lnTo>
                    <a:pt x="335" y="294"/>
                  </a:lnTo>
                  <a:lnTo>
                    <a:pt x="329" y="302"/>
                  </a:lnTo>
                  <a:lnTo>
                    <a:pt x="322" y="302"/>
                  </a:lnTo>
                  <a:lnTo>
                    <a:pt x="318" y="306"/>
                  </a:lnTo>
                  <a:lnTo>
                    <a:pt x="310" y="310"/>
                  </a:lnTo>
                  <a:lnTo>
                    <a:pt x="302" y="322"/>
                  </a:lnTo>
                  <a:lnTo>
                    <a:pt x="284" y="334"/>
                  </a:lnTo>
                  <a:lnTo>
                    <a:pt x="278" y="348"/>
                  </a:lnTo>
                  <a:lnTo>
                    <a:pt x="273" y="351"/>
                  </a:lnTo>
                  <a:lnTo>
                    <a:pt x="276" y="356"/>
                  </a:lnTo>
                  <a:lnTo>
                    <a:pt x="270" y="361"/>
                  </a:lnTo>
                  <a:lnTo>
                    <a:pt x="262" y="359"/>
                  </a:lnTo>
                  <a:lnTo>
                    <a:pt x="251" y="380"/>
                  </a:lnTo>
                  <a:lnTo>
                    <a:pt x="244" y="385"/>
                  </a:lnTo>
                  <a:lnTo>
                    <a:pt x="249" y="393"/>
                  </a:lnTo>
                  <a:lnTo>
                    <a:pt x="243" y="410"/>
                  </a:lnTo>
                  <a:lnTo>
                    <a:pt x="244" y="415"/>
                  </a:lnTo>
                  <a:lnTo>
                    <a:pt x="249" y="418"/>
                  </a:lnTo>
                  <a:lnTo>
                    <a:pt x="252" y="424"/>
                  </a:lnTo>
                  <a:lnTo>
                    <a:pt x="259" y="428"/>
                  </a:lnTo>
                  <a:lnTo>
                    <a:pt x="260" y="440"/>
                  </a:lnTo>
                  <a:lnTo>
                    <a:pt x="263" y="442"/>
                  </a:lnTo>
                  <a:lnTo>
                    <a:pt x="265" y="447"/>
                  </a:lnTo>
                  <a:lnTo>
                    <a:pt x="251" y="471"/>
                  </a:lnTo>
                  <a:lnTo>
                    <a:pt x="251" y="482"/>
                  </a:lnTo>
                  <a:lnTo>
                    <a:pt x="244" y="485"/>
                  </a:lnTo>
                  <a:lnTo>
                    <a:pt x="225" y="482"/>
                  </a:lnTo>
                  <a:lnTo>
                    <a:pt x="196" y="469"/>
                  </a:lnTo>
                  <a:lnTo>
                    <a:pt x="188" y="455"/>
                  </a:lnTo>
                  <a:lnTo>
                    <a:pt x="206" y="445"/>
                  </a:lnTo>
                  <a:lnTo>
                    <a:pt x="201" y="415"/>
                  </a:lnTo>
                  <a:lnTo>
                    <a:pt x="206" y="373"/>
                  </a:lnTo>
                  <a:lnTo>
                    <a:pt x="203" y="359"/>
                  </a:lnTo>
                  <a:lnTo>
                    <a:pt x="191" y="342"/>
                  </a:lnTo>
                  <a:lnTo>
                    <a:pt x="177" y="329"/>
                  </a:lnTo>
                  <a:lnTo>
                    <a:pt x="166" y="326"/>
                  </a:lnTo>
                  <a:lnTo>
                    <a:pt x="153" y="332"/>
                  </a:lnTo>
                  <a:lnTo>
                    <a:pt x="145" y="330"/>
                  </a:lnTo>
                  <a:lnTo>
                    <a:pt x="139" y="324"/>
                  </a:lnTo>
                  <a:lnTo>
                    <a:pt x="137" y="313"/>
                  </a:lnTo>
                  <a:lnTo>
                    <a:pt x="129" y="310"/>
                  </a:lnTo>
                  <a:lnTo>
                    <a:pt x="131" y="302"/>
                  </a:lnTo>
                  <a:lnTo>
                    <a:pt x="126" y="298"/>
                  </a:lnTo>
                  <a:lnTo>
                    <a:pt x="116" y="302"/>
                  </a:lnTo>
                  <a:lnTo>
                    <a:pt x="110" y="294"/>
                  </a:lnTo>
                  <a:lnTo>
                    <a:pt x="93" y="292"/>
                  </a:lnTo>
                  <a:lnTo>
                    <a:pt x="88" y="283"/>
                  </a:lnTo>
                  <a:lnTo>
                    <a:pt x="93" y="281"/>
                  </a:lnTo>
                  <a:lnTo>
                    <a:pt x="94" y="270"/>
                  </a:lnTo>
                  <a:lnTo>
                    <a:pt x="91" y="267"/>
                  </a:lnTo>
                  <a:lnTo>
                    <a:pt x="88" y="255"/>
                  </a:lnTo>
                  <a:lnTo>
                    <a:pt x="81" y="260"/>
                  </a:lnTo>
                  <a:lnTo>
                    <a:pt x="77" y="259"/>
                  </a:lnTo>
                  <a:lnTo>
                    <a:pt x="64" y="262"/>
                  </a:lnTo>
                  <a:lnTo>
                    <a:pt x="38" y="279"/>
                  </a:lnTo>
                  <a:lnTo>
                    <a:pt x="27" y="283"/>
                  </a:lnTo>
                  <a:lnTo>
                    <a:pt x="18" y="281"/>
                  </a:lnTo>
                  <a:lnTo>
                    <a:pt x="6" y="265"/>
                  </a:lnTo>
                  <a:lnTo>
                    <a:pt x="5" y="260"/>
                  </a:lnTo>
                  <a:lnTo>
                    <a:pt x="6" y="244"/>
                  </a:lnTo>
                  <a:lnTo>
                    <a:pt x="0" y="235"/>
                  </a:lnTo>
                  <a:lnTo>
                    <a:pt x="14" y="227"/>
                  </a:lnTo>
                  <a:lnTo>
                    <a:pt x="21" y="228"/>
                  </a:lnTo>
                  <a:lnTo>
                    <a:pt x="29" y="225"/>
                  </a:lnTo>
                  <a:lnTo>
                    <a:pt x="32" y="227"/>
                  </a:lnTo>
                  <a:lnTo>
                    <a:pt x="38" y="220"/>
                  </a:lnTo>
                  <a:lnTo>
                    <a:pt x="46" y="222"/>
                  </a:lnTo>
                  <a:lnTo>
                    <a:pt x="43" y="217"/>
                  </a:lnTo>
                  <a:lnTo>
                    <a:pt x="45" y="211"/>
                  </a:lnTo>
                  <a:lnTo>
                    <a:pt x="40" y="206"/>
                  </a:lnTo>
                  <a:lnTo>
                    <a:pt x="38" y="196"/>
                  </a:lnTo>
                  <a:lnTo>
                    <a:pt x="37" y="195"/>
                  </a:lnTo>
                  <a:lnTo>
                    <a:pt x="34" y="177"/>
                  </a:lnTo>
                  <a:lnTo>
                    <a:pt x="37" y="168"/>
                  </a:lnTo>
                  <a:lnTo>
                    <a:pt x="27" y="152"/>
                  </a:lnTo>
                  <a:lnTo>
                    <a:pt x="30" y="141"/>
                  </a:lnTo>
                  <a:lnTo>
                    <a:pt x="21" y="102"/>
                  </a:lnTo>
                  <a:lnTo>
                    <a:pt x="22" y="91"/>
                  </a:lnTo>
                  <a:lnTo>
                    <a:pt x="35" y="80"/>
                  </a:lnTo>
                  <a:lnTo>
                    <a:pt x="38" y="61"/>
                  </a:lnTo>
                  <a:lnTo>
                    <a:pt x="57" y="48"/>
                  </a:lnTo>
                  <a:lnTo>
                    <a:pt x="88" y="42"/>
                  </a:lnTo>
                  <a:lnTo>
                    <a:pt x="101" y="42"/>
                  </a:lnTo>
                  <a:lnTo>
                    <a:pt x="120" y="3"/>
                  </a:lnTo>
                  <a:lnTo>
                    <a:pt x="132" y="0"/>
                  </a:lnTo>
                  <a:lnTo>
                    <a:pt x="139" y="3"/>
                  </a:lnTo>
                  <a:lnTo>
                    <a:pt x="155" y="21"/>
                  </a:lnTo>
                  <a:lnTo>
                    <a:pt x="158" y="32"/>
                  </a:lnTo>
                  <a:lnTo>
                    <a:pt x="172" y="35"/>
                  </a:lnTo>
                  <a:lnTo>
                    <a:pt x="177" y="19"/>
                  </a:lnTo>
                  <a:lnTo>
                    <a:pt x="191" y="2"/>
                  </a:lnTo>
                  <a:lnTo>
                    <a:pt x="247" y="7"/>
                  </a:lnTo>
                  <a:lnTo>
                    <a:pt x="241" y="26"/>
                  </a:lnTo>
                  <a:lnTo>
                    <a:pt x="244" y="34"/>
                  </a:lnTo>
                  <a:lnTo>
                    <a:pt x="257" y="38"/>
                  </a:lnTo>
                  <a:lnTo>
                    <a:pt x="265" y="46"/>
                  </a:lnTo>
                  <a:lnTo>
                    <a:pt x="263" y="58"/>
                  </a:lnTo>
                  <a:lnTo>
                    <a:pt x="270" y="64"/>
                  </a:lnTo>
                  <a:lnTo>
                    <a:pt x="298" y="70"/>
                  </a:lnTo>
                  <a:lnTo>
                    <a:pt x="303" y="80"/>
                  </a:lnTo>
                  <a:lnTo>
                    <a:pt x="306" y="101"/>
                  </a:lnTo>
                  <a:lnTo>
                    <a:pt x="305" y="112"/>
                  </a:lnTo>
                  <a:lnTo>
                    <a:pt x="305" y="117"/>
                  </a:lnTo>
                  <a:lnTo>
                    <a:pt x="311" y="121"/>
                  </a:lnTo>
                  <a:lnTo>
                    <a:pt x="326" y="121"/>
                  </a:lnTo>
                  <a:lnTo>
                    <a:pt x="353" y="131"/>
                  </a:lnTo>
                  <a:lnTo>
                    <a:pt x="359" y="120"/>
                  </a:lnTo>
                  <a:lnTo>
                    <a:pt x="370" y="125"/>
                  </a:lnTo>
                  <a:lnTo>
                    <a:pt x="373" y="163"/>
                  </a:lnTo>
                  <a:lnTo>
                    <a:pt x="372" y="169"/>
                  </a:lnTo>
                  <a:lnTo>
                    <a:pt x="359" y="179"/>
                  </a:lnTo>
                  <a:lnTo>
                    <a:pt x="354" y="192"/>
                  </a:lnTo>
                  <a:lnTo>
                    <a:pt x="357" y="195"/>
                  </a:lnTo>
                  <a:lnTo>
                    <a:pt x="367" y="198"/>
                  </a:lnTo>
                  <a:lnTo>
                    <a:pt x="375" y="206"/>
                  </a:lnTo>
                  <a:lnTo>
                    <a:pt x="378" y="214"/>
                  </a:lnTo>
                  <a:lnTo>
                    <a:pt x="386" y="220"/>
                  </a:lnTo>
                  <a:lnTo>
                    <a:pt x="386" y="223"/>
                  </a:lnTo>
                  <a:lnTo>
                    <a:pt x="391" y="225"/>
                  </a:lnTo>
                  <a:lnTo>
                    <a:pt x="404" y="246"/>
                  </a:lnTo>
                  <a:lnTo>
                    <a:pt x="375" y="268"/>
                  </a:lnTo>
                  <a:lnTo>
                    <a:pt x="372" y="30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/>
            <a:lstStyle/>
            <a:p>
              <a:pPr algn="ctr"/>
              <a:endParaRPr lang="en-US" sz="800" dirty="0"/>
            </a:p>
          </p:txBody>
        </p:sp>
        <p:sp>
          <p:nvSpPr>
            <p:cNvPr id="19" name="Freeform 203">
              <a:extLst>
                <a:ext uri="{FF2B5EF4-FFF2-40B4-BE49-F238E27FC236}">
                  <a16:creationId xmlns:a16="http://schemas.microsoft.com/office/drawing/2014/main" id="{C7EA8158-F928-4C1A-9110-193A9411290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4500" y="3503613"/>
              <a:ext cx="1020762" cy="944562"/>
            </a:xfrm>
            <a:custGeom>
              <a:avLst/>
              <a:gdLst>
                <a:gd name="T0" fmla="*/ 642 w 643"/>
                <a:gd name="T1" fmla="*/ 265 h 595"/>
                <a:gd name="T2" fmla="*/ 608 w 643"/>
                <a:gd name="T3" fmla="*/ 388 h 595"/>
                <a:gd name="T4" fmla="*/ 621 w 643"/>
                <a:gd name="T5" fmla="*/ 438 h 595"/>
                <a:gd name="T6" fmla="*/ 594 w 643"/>
                <a:gd name="T7" fmla="*/ 476 h 595"/>
                <a:gd name="T8" fmla="*/ 627 w 643"/>
                <a:gd name="T9" fmla="*/ 509 h 595"/>
                <a:gd name="T10" fmla="*/ 600 w 643"/>
                <a:gd name="T11" fmla="*/ 559 h 595"/>
                <a:gd name="T12" fmla="*/ 572 w 643"/>
                <a:gd name="T13" fmla="*/ 564 h 595"/>
                <a:gd name="T14" fmla="*/ 546 w 643"/>
                <a:gd name="T15" fmla="*/ 557 h 595"/>
                <a:gd name="T16" fmla="*/ 535 w 643"/>
                <a:gd name="T17" fmla="*/ 564 h 595"/>
                <a:gd name="T18" fmla="*/ 520 w 643"/>
                <a:gd name="T19" fmla="*/ 589 h 595"/>
                <a:gd name="T20" fmla="*/ 500 w 643"/>
                <a:gd name="T21" fmla="*/ 592 h 595"/>
                <a:gd name="T22" fmla="*/ 489 w 643"/>
                <a:gd name="T23" fmla="*/ 559 h 595"/>
                <a:gd name="T24" fmla="*/ 465 w 643"/>
                <a:gd name="T25" fmla="*/ 536 h 595"/>
                <a:gd name="T26" fmla="*/ 431 w 643"/>
                <a:gd name="T27" fmla="*/ 530 h 595"/>
                <a:gd name="T28" fmla="*/ 380 w 643"/>
                <a:gd name="T29" fmla="*/ 532 h 595"/>
                <a:gd name="T30" fmla="*/ 343 w 643"/>
                <a:gd name="T31" fmla="*/ 519 h 595"/>
                <a:gd name="T32" fmla="*/ 294 w 643"/>
                <a:gd name="T33" fmla="*/ 511 h 595"/>
                <a:gd name="T34" fmla="*/ 297 w 643"/>
                <a:gd name="T35" fmla="*/ 474 h 595"/>
                <a:gd name="T36" fmla="*/ 268 w 643"/>
                <a:gd name="T37" fmla="*/ 420 h 595"/>
                <a:gd name="T38" fmla="*/ 267 w 643"/>
                <a:gd name="T39" fmla="*/ 351 h 595"/>
                <a:gd name="T40" fmla="*/ 232 w 643"/>
                <a:gd name="T41" fmla="*/ 350 h 595"/>
                <a:gd name="T42" fmla="*/ 212 w 643"/>
                <a:gd name="T43" fmla="*/ 347 h 595"/>
                <a:gd name="T44" fmla="*/ 197 w 643"/>
                <a:gd name="T45" fmla="*/ 323 h 595"/>
                <a:gd name="T46" fmla="*/ 211 w 643"/>
                <a:gd name="T47" fmla="*/ 316 h 595"/>
                <a:gd name="T48" fmla="*/ 225 w 643"/>
                <a:gd name="T49" fmla="*/ 304 h 595"/>
                <a:gd name="T50" fmla="*/ 241 w 643"/>
                <a:gd name="T51" fmla="*/ 280 h 595"/>
                <a:gd name="T52" fmla="*/ 241 w 643"/>
                <a:gd name="T53" fmla="*/ 260 h 595"/>
                <a:gd name="T54" fmla="*/ 232 w 643"/>
                <a:gd name="T55" fmla="*/ 240 h 595"/>
                <a:gd name="T56" fmla="*/ 212 w 643"/>
                <a:gd name="T57" fmla="*/ 221 h 595"/>
                <a:gd name="T58" fmla="*/ 174 w 643"/>
                <a:gd name="T59" fmla="*/ 198 h 595"/>
                <a:gd name="T60" fmla="*/ 104 w 643"/>
                <a:gd name="T61" fmla="*/ 213 h 595"/>
                <a:gd name="T62" fmla="*/ 78 w 643"/>
                <a:gd name="T63" fmla="*/ 230 h 595"/>
                <a:gd name="T64" fmla="*/ 67 w 643"/>
                <a:gd name="T65" fmla="*/ 248 h 595"/>
                <a:gd name="T66" fmla="*/ 58 w 643"/>
                <a:gd name="T67" fmla="*/ 267 h 595"/>
                <a:gd name="T68" fmla="*/ 39 w 643"/>
                <a:gd name="T69" fmla="*/ 270 h 595"/>
                <a:gd name="T70" fmla="*/ 11 w 643"/>
                <a:gd name="T71" fmla="*/ 265 h 595"/>
                <a:gd name="T72" fmla="*/ 11 w 643"/>
                <a:gd name="T73" fmla="*/ 230 h 595"/>
                <a:gd name="T74" fmla="*/ 23 w 643"/>
                <a:gd name="T75" fmla="*/ 198 h 595"/>
                <a:gd name="T76" fmla="*/ 16 w 643"/>
                <a:gd name="T77" fmla="*/ 182 h 595"/>
                <a:gd name="T78" fmla="*/ 18 w 643"/>
                <a:gd name="T79" fmla="*/ 158 h 595"/>
                <a:gd name="T80" fmla="*/ 39 w 643"/>
                <a:gd name="T81" fmla="*/ 154 h 595"/>
                <a:gd name="T82" fmla="*/ 51 w 643"/>
                <a:gd name="T83" fmla="*/ 130 h 595"/>
                <a:gd name="T84" fmla="*/ 64 w 643"/>
                <a:gd name="T85" fmla="*/ 115 h 595"/>
                <a:gd name="T86" fmla="*/ 88 w 643"/>
                <a:gd name="T87" fmla="*/ 115 h 595"/>
                <a:gd name="T88" fmla="*/ 107 w 643"/>
                <a:gd name="T89" fmla="*/ 118 h 595"/>
                <a:gd name="T90" fmla="*/ 141 w 643"/>
                <a:gd name="T91" fmla="*/ 110 h 595"/>
                <a:gd name="T92" fmla="*/ 150 w 643"/>
                <a:gd name="T93" fmla="*/ 99 h 595"/>
                <a:gd name="T94" fmla="*/ 157 w 643"/>
                <a:gd name="T95" fmla="*/ 90 h 595"/>
                <a:gd name="T96" fmla="*/ 161 w 643"/>
                <a:gd name="T97" fmla="*/ 74 h 595"/>
                <a:gd name="T98" fmla="*/ 198 w 643"/>
                <a:gd name="T99" fmla="*/ 29 h 595"/>
                <a:gd name="T100" fmla="*/ 216 w 643"/>
                <a:gd name="T101" fmla="*/ 66 h 595"/>
                <a:gd name="T102" fmla="*/ 265 w 643"/>
                <a:gd name="T103" fmla="*/ 90 h 595"/>
                <a:gd name="T104" fmla="*/ 278 w 643"/>
                <a:gd name="T105" fmla="*/ 53 h 595"/>
                <a:gd name="T106" fmla="*/ 315 w 643"/>
                <a:gd name="T107" fmla="*/ 35 h 595"/>
                <a:gd name="T108" fmla="*/ 367 w 643"/>
                <a:gd name="T109" fmla="*/ 55 h 595"/>
                <a:gd name="T110" fmla="*/ 402 w 643"/>
                <a:gd name="T111" fmla="*/ 39 h 595"/>
                <a:gd name="T112" fmla="*/ 452 w 643"/>
                <a:gd name="T113" fmla="*/ 7 h 595"/>
                <a:gd name="T114" fmla="*/ 482 w 643"/>
                <a:gd name="T115" fmla="*/ 15 h 595"/>
                <a:gd name="T116" fmla="*/ 498 w 643"/>
                <a:gd name="T117" fmla="*/ 39 h 595"/>
                <a:gd name="T118" fmla="*/ 517 w 643"/>
                <a:gd name="T119" fmla="*/ 55 h 595"/>
                <a:gd name="T120" fmla="*/ 541 w 643"/>
                <a:gd name="T121" fmla="*/ 77 h 595"/>
                <a:gd name="T122" fmla="*/ 594 w 643"/>
                <a:gd name="T123" fmla="*/ 110 h 595"/>
                <a:gd name="T124" fmla="*/ 576 w 643"/>
                <a:gd name="T125" fmla="*/ 200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43" h="595">
                  <a:moveTo>
                    <a:pt x="616" y="227"/>
                  </a:moveTo>
                  <a:lnTo>
                    <a:pt x="623" y="240"/>
                  </a:lnTo>
                  <a:lnTo>
                    <a:pt x="616" y="256"/>
                  </a:lnTo>
                  <a:lnTo>
                    <a:pt x="642" y="265"/>
                  </a:lnTo>
                  <a:lnTo>
                    <a:pt x="643" y="288"/>
                  </a:lnTo>
                  <a:lnTo>
                    <a:pt x="621" y="316"/>
                  </a:lnTo>
                  <a:lnTo>
                    <a:pt x="616" y="359"/>
                  </a:lnTo>
                  <a:lnTo>
                    <a:pt x="608" y="388"/>
                  </a:lnTo>
                  <a:lnTo>
                    <a:pt x="607" y="406"/>
                  </a:lnTo>
                  <a:lnTo>
                    <a:pt x="610" y="415"/>
                  </a:lnTo>
                  <a:lnTo>
                    <a:pt x="621" y="430"/>
                  </a:lnTo>
                  <a:lnTo>
                    <a:pt x="621" y="438"/>
                  </a:lnTo>
                  <a:lnTo>
                    <a:pt x="613" y="447"/>
                  </a:lnTo>
                  <a:lnTo>
                    <a:pt x="595" y="453"/>
                  </a:lnTo>
                  <a:lnTo>
                    <a:pt x="591" y="466"/>
                  </a:lnTo>
                  <a:lnTo>
                    <a:pt x="594" y="476"/>
                  </a:lnTo>
                  <a:lnTo>
                    <a:pt x="600" y="484"/>
                  </a:lnTo>
                  <a:lnTo>
                    <a:pt x="616" y="493"/>
                  </a:lnTo>
                  <a:lnTo>
                    <a:pt x="624" y="503"/>
                  </a:lnTo>
                  <a:lnTo>
                    <a:pt x="627" y="509"/>
                  </a:lnTo>
                  <a:lnTo>
                    <a:pt x="627" y="517"/>
                  </a:lnTo>
                  <a:lnTo>
                    <a:pt x="616" y="532"/>
                  </a:lnTo>
                  <a:lnTo>
                    <a:pt x="607" y="559"/>
                  </a:lnTo>
                  <a:lnTo>
                    <a:pt x="600" y="559"/>
                  </a:lnTo>
                  <a:lnTo>
                    <a:pt x="599" y="578"/>
                  </a:lnTo>
                  <a:lnTo>
                    <a:pt x="589" y="584"/>
                  </a:lnTo>
                  <a:lnTo>
                    <a:pt x="572" y="584"/>
                  </a:lnTo>
                  <a:lnTo>
                    <a:pt x="572" y="564"/>
                  </a:lnTo>
                  <a:lnTo>
                    <a:pt x="559" y="554"/>
                  </a:lnTo>
                  <a:lnTo>
                    <a:pt x="549" y="549"/>
                  </a:lnTo>
                  <a:lnTo>
                    <a:pt x="546" y="551"/>
                  </a:lnTo>
                  <a:lnTo>
                    <a:pt x="546" y="557"/>
                  </a:lnTo>
                  <a:lnTo>
                    <a:pt x="544" y="560"/>
                  </a:lnTo>
                  <a:lnTo>
                    <a:pt x="540" y="560"/>
                  </a:lnTo>
                  <a:lnTo>
                    <a:pt x="536" y="565"/>
                  </a:lnTo>
                  <a:lnTo>
                    <a:pt x="535" y="564"/>
                  </a:lnTo>
                  <a:lnTo>
                    <a:pt x="528" y="570"/>
                  </a:lnTo>
                  <a:lnTo>
                    <a:pt x="524" y="570"/>
                  </a:lnTo>
                  <a:lnTo>
                    <a:pt x="519" y="581"/>
                  </a:lnTo>
                  <a:lnTo>
                    <a:pt x="520" y="589"/>
                  </a:lnTo>
                  <a:lnTo>
                    <a:pt x="516" y="591"/>
                  </a:lnTo>
                  <a:lnTo>
                    <a:pt x="516" y="594"/>
                  </a:lnTo>
                  <a:lnTo>
                    <a:pt x="512" y="595"/>
                  </a:lnTo>
                  <a:lnTo>
                    <a:pt x="500" y="592"/>
                  </a:lnTo>
                  <a:lnTo>
                    <a:pt x="500" y="587"/>
                  </a:lnTo>
                  <a:lnTo>
                    <a:pt x="495" y="581"/>
                  </a:lnTo>
                  <a:lnTo>
                    <a:pt x="495" y="567"/>
                  </a:lnTo>
                  <a:lnTo>
                    <a:pt x="489" y="559"/>
                  </a:lnTo>
                  <a:lnTo>
                    <a:pt x="484" y="557"/>
                  </a:lnTo>
                  <a:lnTo>
                    <a:pt x="476" y="559"/>
                  </a:lnTo>
                  <a:lnTo>
                    <a:pt x="468" y="544"/>
                  </a:lnTo>
                  <a:lnTo>
                    <a:pt x="465" y="536"/>
                  </a:lnTo>
                  <a:lnTo>
                    <a:pt x="468" y="527"/>
                  </a:lnTo>
                  <a:lnTo>
                    <a:pt x="460" y="522"/>
                  </a:lnTo>
                  <a:lnTo>
                    <a:pt x="442" y="519"/>
                  </a:lnTo>
                  <a:lnTo>
                    <a:pt x="431" y="530"/>
                  </a:lnTo>
                  <a:lnTo>
                    <a:pt x="426" y="532"/>
                  </a:lnTo>
                  <a:lnTo>
                    <a:pt x="415" y="532"/>
                  </a:lnTo>
                  <a:lnTo>
                    <a:pt x="398" y="524"/>
                  </a:lnTo>
                  <a:lnTo>
                    <a:pt x="380" y="532"/>
                  </a:lnTo>
                  <a:lnTo>
                    <a:pt x="383" y="520"/>
                  </a:lnTo>
                  <a:lnTo>
                    <a:pt x="359" y="519"/>
                  </a:lnTo>
                  <a:lnTo>
                    <a:pt x="358" y="524"/>
                  </a:lnTo>
                  <a:lnTo>
                    <a:pt x="343" y="519"/>
                  </a:lnTo>
                  <a:lnTo>
                    <a:pt x="292" y="528"/>
                  </a:lnTo>
                  <a:lnTo>
                    <a:pt x="281" y="535"/>
                  </a:lnTo>
                  <a:lnTo>
                    <a:pt x="276" y="527"/>
                  </a:lnTo>
                  <a:lnTo>
                    <a:pt x="294" y="511"/>
                  </a:lnTo>
                  <a:lnTo>
                    <a:pt x="292" y="503"/>
                  </a:lnTo>
                  <a:lnTo>
                    <a:pt x="279" y="500"/>
                  </a:lnTo>
                  <a:lnTo>
                    <a:pt x="276" y="489"/>
                  </a:lnTo>
                  <a:lnTo>
                    <a:pt x="297" y="474"/>
                  </a:lnTo>
                  <a:lnTo>
                    <a:pt x="299" y="468"/>
                  </a:lnTo>
                  <a:lnTo>
                    <a:pt x="294" y="453"/>
                  </a:lnTo>
                  <a:lnTo>
                    <a:pt x="281" y="441"/>
                  </a:lnTo>
                  <a:lnTo>
                    <a:pt x="268" y="420"/>
                  </a:lnTo>
                  <a:lnTo>
                    <a:pt x="268" y="396"/>
                  </a:lnTo>
                  <a:lnTo>
                    <a:pt x="262" y="372"/>
                  </a:lnTo>
                  <a:lnTo>
                    <a:pt x="264" y="358"/>
                  </a:lnTo>
                  <a:lnTo>
                    <a:pt x="267" y="351"/>
                  </a:lnTo>
                  <a:lnTo>
                    <a:pt x="254" y="351"/>
                  </a:lnTo>
                  <a:lnTo>
                    <a:pt x="249" y="355"/>
                  </a:lnTo>
                  <a:lnTo>
                    <a:pt x="238" y="348"/>
                  </a:lnTo>
                  <a:lnTo>
                    <a:pt x="232" y="350"/>
                  </a:lnTo>
                  <a:lnTo>
                    <a:pt x="228" y="353"/>
                  </a:lnTo>
                  <a:lnTo>
                    <a:pt x="219" y="348"/>
                  </a:lnTo>
                  <a:lnTo>
                    <a:pt x="214" y="350"/>
                  </a:lnTo>
                  <a:lnTo>
                    <a:pt x="212" y="347"/>
                  </a:lnTo>
                  <a:lnTo>
                    <a:pt x="206" y="343"/>
                  </a:lnTo>
                  <a:lnTo>
                    <a:pt x="198" y="343"/>
                  </a:lnTo>
                  <a:lnTo>
                    <a:pt x="195" y="334"/>
                  </a:lnTo>
                  <a:lnTo>
                    <a:pt x="197" y="323"/>
                  </a:lnTo>
                  <a:lnTo>
                    <a:pt x="203" y="323"/>
                  </a:lnTo>
                  <a:lnTo>
                    <a:pt x="201" y="318"/>
                  </a:lnTo>
                  <a:lnTo>
                    <a:pt x="204" y="315"/>
                  </a:lnTo>
                  <a:lnTo>
                    <a:pt x="211" y="316"/>
                  </a:lnTo>
                  <a:lnTo>
                    <a:pt x="219" y="302"/>
                  </a:lnTo>
                  <a:lnTo>
                    <a:pt x="220" y="304"/>
                  </a:lnTo>
                  <a:lnTo>
                    <a:pt x="224" y="300"/>
                  </a:lnTo>
                  <a:lnTo>
                    <a:pt x="225" y="304"/>
                  </a:lnTo>
                  <a:lnTo>
                    <a:pt x="228" y="294"/>
                  </a:lnTo>
                  <a:lnTo>
                    <a:pt x="235" y="291"/>
                  </a:lnTo>
                  <a:lnTo>
                    <a:pt x="236" y="283"/>
                  </a:lnTo>
                  <a:lnTo>
                    <a:pt x="241" y="280"/>
                  </a:lnTo>
                  <a:lnTo>
                    <a:pt x="252" y="280"/>
                  </a:lnTo>
                  <a:lnTo>
                    <a:pt x="246" y="275"/>
                  </a:lnTo>
                  <a:lnTo>
                    <a:pt x="244" y="262"/>
                  </a:lnTo>
                  <a:lnTo>
                    <a:pt x="241" y="260"/>
                  </a:lnTo>
                  <a:lnTo>
                    <a:pt x="241" y="257"/>
                  </a:lnTo>
                  <a:lnTo>
                    <a:pt x="236" y="252"/>
                  </a:lnTo>
                  <a:lnTo>
                    <a:pt x="238" y="241"/>
                  </a:lnTo>
                  <a:lnTo>
                    <a:pt x="232" y="240"/>
                  </a:lnTo>
                  <a:lnTo>
                    <a:pt x="230" y="232"/>
                  </a:lnTo>
                  <a:lnTo>
                    <a:pt x="222" y="225"/>
                  </a:lnTo>
                  <a:lnTo>
                    <a:pt x="216" y="225"/>
                  </a:lnTo>
                  <a:lnTo>
                    <a:pt x="212" y="221"/>
                  </a:lnTo>
                  <a:lnTo>
                    <a:pt x="189" y="224"/>
                  </a:lnTo>
                  <a:lnTo>
                    <a:pt x="190" y="209"/>
                  </a:lnTo>
                  <a:lnTo>
                    <a:pt x="181" y="198"/>
                  </a:lnTo>
                  <a:lnTo>
                    <a:pt x="174" y="198"/>
                  </a:lnTo>
                  <a:lnTo>
                    <a:pt x="160" y="206"/>
                  </a:lnTo>
                  <a:lnTo>
                    <a:pt x="126" y="205"/>
                  </a:lnTo>
                  <a:lnTo>
                    <a:pt x="104" y="208"/>
                  </a:lnTo>
                  <a:lnTo>
                    <a:pt x="104" y="213"/>
                  </a:lnTo>
                  <a:lnTo>
                    <a:pt x="102" y="211"/>
                  </a:lnTo>
                  <a:lnTo>
                    <a:pt x="98" y="217"/>
                  </a:lnTo>
                  <a:lnTo>
                    <a:pt x="82" y="224"/>
                  </a:lnTo>
                  <a:lnTo>
                    <a:pt x="78" y="230"/>
                  </a:lnTo>
                  <a:lnTo>
                    <a:pt x="82" y="233"/>
                  </a:lnTo>
                  <a:lnTo>
                    <a:pt x="78" y="236"/>
                  </a:lnTo>
                  <a:lnTo>
                    <a:pt x="80" y="241"/>
                  </a:lnTo>
                  <a:lnTo>
                    <a:pt x="67" y="248"/>
                  </a:lnTo>
                  <a:lnTo>
                    <a:pt x="64" y="256"/>
                  </a:lnTo>
                  <a:lnTo>
                    <a:pt x="58" y="260"/>
                  </a:lnTo>
                  <a:lnTo>
                    <a:pt x="56" y="259"/>
                  </a:lnTo>
                  <a:lnTo>
                    <a:pt x="58" y="267"/>
                  </a:lnTo>
                  <a:lnTo>
                    <a:pt x="51" y="264"/>
                  </a:lnTo>
                  <a:lnTo>
                    <a:pt x="48" y="268"/>
                  </a:lnTo>
                  <a:lnTo>
                    <a:pt x="40" y="267"/>
                  </a:lnTo>
                  <a:lnTo>
                    <a:pt x="39" y="270"/>
                  </a:lnTo>
                  <a:lnTo>
                    <a:pt x="32" y="270"/>
                  </a:lnTo>
                  <a:lnTo>
                    <a:pt x="29" y="275"/>
                  </a:lnTo>
                  <a:lnTo>
                    <a:pt x="18" y="272"/>
                  </a:lnTo>
                  <a:lnTo>
                    <a:pt x="11" y="265"/>
                  </a:lnTo>
                  <a:lnTo>
                    <a:pt x="0" y="262"/>
                  </a:lnTo>
                  <a:lnTo>
                    <a:pt x="2" y="252"/>
                  </a:lnTo>
                  <a:lnTo>
                    <a:pt x="10" y="248"/>
                  </a:lnTo>
                  <a:lnTo>
                    <a:pt x="11" y="230"/>
                  </a:lnTo>
                  <a:lnTo>
                    <a:pt x="18" y="229"/>
                  </a:lnTo>
                  <a:lnTo>
                    <a:pt x="21" y="219"/>
                  </a:lnTo>
                  <a:lnTo>
                    <a:pt x="16" y="216"/>
                  </a:lnTo>
                  <a:lnTo>
                    <a:pt x="23" y="198"/>
                  </a:lnTo>
                  <a:lnTo>
                    <a:pt x="16" y="197"/>
                  </a:lnTo>
                  <a:lnTo>
                    <a:pt x="15" y="193"/>
                  </a:lnTo>
                  <a:lnTo>
                    <a:pt x="11" y="192"/>
                  </a:lnTo>
                  <a:lnTo>
                    <a:pt x="16" y="182"/>
                  </a:lnTo>
                  <a:lnTo>
                    <a:pt x="13" y="176"/>
                  </a:lnTo>
                  <a:lnTo>
                    <a:pt x="15" y="166"/>
                  </a:lnTo>
                  <a:lnTo>
                    <a:pt x="21" y="163"/>
                  </a:lnTo>
                  <a:lnTo>
                    <a:pt x="18" y="158"/>
                  </a:lnTo>
                  <a:lnTo>
                    <a:pt x="26" y="157"/>
                  </a:lnTo>
                  <a:lnTo>
                    <a:pt x="27" y="152"/>
                  </a:lnTo>
                  <a:lnTo>
                    <a:pt x="32" y="152"/>
                  </a:lnTo>
                  <a:lnTo>
                    <a:pt x="39" y="154"/>
                  </a:lnTo>
                  <a:lnTo>
                    <a:pt x="43" y="146"/>
                  </a:lnTo>
                  <a:lnTo>
                    <a:pt x="42" y="142"/>
                  </a:lnTo>
                  <a:lnTo>
                    <a:pt x="45" y="134"/>
                  </a:lnTo>
                  <a:lnTo>
                    <a:pt x="51" y="130"/>
                  </a:lnTo>
                  <a:lnTo>
                    <a:pt x="54" y="130"/>
                  </a:lnTo>
                  <a:lnTo>
                    <a:pt x="61" y="122"/>
                  </a:lnTo>
                  <a:lnTo>
                    <a:pt x="66" y="117"/>
                  </a:lnTo>
                  <a:lnTo>
                    <a:pt x="64" y="115"/>
                  </a:lnTo>
                  <a:lnTo>
                    <a:pt x="75" y="117"/>
                  </a:lnTo>
                  <a:lnTo>
                    <a:pt x="77" y="114"/>
                  </a:lnTo>
                  <a:lnTo>
                    <a:pt x="83" y="114"/>
                  </a:lnTo>
                  <a:lnTo>
                    <a:pt x="88" y="115"/>
                  </a:lnTo>
                  <a:lnTo>
                    <a:pt x="93" y="122"/>
                  </a:lnTo>
                  <a:lnTo>
                    <a:pt x="96" y="122"/>
                  </a:lnTo>
                  <a:lnTo>
                    <a:pt x="99" y="117"/>
                  </a:lnTo>
                  <a:lnTo>
                    <a:pt x="107" y="118"/>
                  </a:lnTo>
                  <a:lnTo>
                    <a:pt x="114" y="115"/>
                  </a:lnTo>
                  <a:lnTo>
                    <a:pt x="125" y="117"/>
                  </a:lnTo>
                  <a:lnTo>
                    <a:pt x="129" y="110"/>
                  </a:lnTo>
                  <a:lnTo>
                    <a:pt x="141" y="110"/>
                  </a:lnTo>
                  <a:lnTo>
                    <a:pt x="145" y="107"/>
                  </a:lnTo>
                  <a:lnTo>
                    <a:pt x="147" y="109"/>
                  </a:lnTo>
                  <a:lnTo>
                    <a:pt x="152" y="104"/>
                  </a:lnTo>
                  <a:lnTo>
                    <a:pt x="150" y="99"/>
                  </a:lnTo>
                  <a:lnTo>
                    <a:pt x="157" y="96"/>
                  </a:lnTo>
                  <a:lnTo>
                    <a:pt x="157" y="95"/>
                  </a:lnTo>
                  <a:lnTo>
                    <a:pt x="155" y="93"/>
                  </a:lnTo>
                  <a:lnTo>
                    <a:pt x="157" y="90"/>
                  </a:lnTo>
                  <a:lnTo>
                    <a:pt x="161" y="87"/>
                  </a:lnTo>
                  <a:lnTo>
                    <a:pt x="160" y="83"/>
                  </a:lnTo>
                  <a:lnTo>
                    <a:pt x="163" y="80"/>
                  </a:lnTo>
                  <a:lnTo>
                    <a:pt x="161" y="74"/>
                  </a:lnTo>
                  <a:lnTo>
                    <a:pt x="165" y="59"/>
                  </a:lnTo>
                  <a:lnTo>
                    <a:pt x="181" y="48"/>
                  </a:lnTo>
                  <a:lnTo>
                    <a:pt x="185" y="48"/>
                  </a:lnTo>
                  <a:lnTo>
                    <a:pt x="198" y="29"/>
                  </a:lnTo>
                  <a:lnTo>
                    <a:pt x="209" y="42"/>
                  </a:lnTo>
                  <a:lnTo>
                    <a:pt x="224" y="48"/>
                  </a:lnTo>
                  <a:lnTo>
                    <a:pt x="214" y="63"/>
                  </a:lnTo>
                  <a:lnTo>
                    <a:pt x="216" y="66"/>
                  </a:lnTo>
                  <a:lnTo>
                    <a:pt x="236" y="74"/>
                  </a:lnTo>
                  <a:lnTo>
                    <a:pt x="244" y="85"/>
                  </a:lnTo>
                  <a:lnTo>
                    <a:pt x="260" y="91"/>
                  </a:lnTo>
                  <a:lnTo>
                    <a:pt x="265" y="90"/>
                  </a:lnTo>
                  <a:lnTo>
                    <a:pt x="270" y="82"/>
                  </a:lnTo>
                  <a:lnTo>
                    <a:pt x="267" y="72"/>
                  </a:lnTo>
                  <a:lnTo>
                    <a:pt x="268" y="59"/>
                  </a:lnTo>
                  <a:lnTo>
                    <a:pt x="278" y="53"/>
                  </a:lnTo>
                  <a:lnTo>
                    <a:pt x="307" y="61"/>
                  </a:lnTo>
                  <a:lnTo>
                    <a:pt x="310" y="53"/>
                  </a:lnTo>
                  <a:lnTo>
                    <a:pt x="308" y="45"/>
                  </a:lnTo>
                  <a:lnTo>
                    <a:pt x="315" y="35"/>
                  </a:lnTo>
                  <a:lnTo>
                    <a:pt x="329" y="35"/>
                  </a:lnTo>
                  <a:lnTo>
                    <a:pt x="340" y="39"/>
                  </a:lnTo>
                  <a:lnTo>
                    <a:pt x="351" y="47"/>
                  </a:lnTo>
                  <a:lnTo>
                    <a:pt x="367" y="55"/>
                  </a:lnTo>
                  <a:lnTo>
                    <a:pt x="378" y="48"/>
                  </a:lnTo>
                  <a:lnTo>
                    <a:pt x="391" y="45"/>
                  </a:lnTo>
                  <a:lnTo>
                    <a:pt x="396" y="40"/>
                  </a:lnTo>
                  <a:lnTo>
                    <a:pt x="402" y="39"/>
                  </a:lnTo>
                  <a:lnTo>
                    <a:pt x="409" y="34"/>
                  </a:lnTo>
                  <a:lnTo>
                    <a:pt x="410" y="28"/>
                  </a:lnTo>
                  <a:lnTo>
                    <a:pt x="423" y="26"/>
                  </a:lnTo>
                  <a:lnTo>
                    <a:pt x="452" y="7"/>
                  </a:lnTo>
                  <a:lnTo>
                    <a:pt x="465" y="4"/>
                  </a:lnTo>
                  <a:lnTo>
                    <a:pt x="469" y="5"/>
                  </a:lnTo>
                  <a:lnTo>
                    <a:pt x="476" y="0"/>
                  </a:lnTo>
                  <a:lnTo>
                    <a:pt x="482" y="15"/>
                  </a:lnTo>
                  <a:lnTo>
                    <a:pt x="481" y="26"/>
                  </a:lnTo>
                  <a:lnTo>
                    <a:pt x="476" y="28"/>
                  </a:lnTo>
                  <a:lnTo>
                    <a:pt x="481" y="37"/>
                  </a:lnTo>
                  <a:lnTo>
                    <a:pt x="498" y="39"/>
                  </a:lnTo>
                  <a:lnTo>
                    <a:pt x="504" y="47"/>
                  </a:lnTo>
                  <a:lnTo>
                    <a:pt x="514" y="43"/>
                  </a:lnTo>
                  <a:lnTo>
                    <a:pt x="519" y="47"/>
                  </a:lnTo>
                  <a:lnTo>
                    <a:pt x="517" y="55"/>
                  </a:lnTo>
                  <a:lnTo>
                    <a:pt x="525" y="58"/>
                  </a:lnTo>
                  <a:lnTo>
                    <a:pt x="527" y="69"/>
                  </a:lnTo>
                  <a:lnTo>
                    <a:pt x="533" y="75"/>
                  </a:lnTo>
                  <a:lnTo>
                    <a:pt x="541" y="77"/>
                  </a:lnTo>
                  <a:lnTo>
                    <a:pt x="554" y="71"/>
                  </a:lnTo>
                  <a:lnTo>
                    <a:pt x="565" y="74"/>
                  </a:lnTo>
                  <a:lnTo>
                    <a:pt x="584" y="93"/>
                  </a:lnTo>
                  <a:lnTo>
                    <a:pt x="594" y="110"/>
                  </a:lnTo>
                  <a:lnTo>
                    <a:pt x="594" y="118"/>
                  </a:lnTo>
                  <a:lnTo>
                    <a:pt x="589" y="160"/>
                  </a:lnTo>
                  <a:lnTo>
                    <a:pt x="594" y="190"/>
                  </a:lnTo>
                  <a:lnTo>
                    <a:pt x="576" y="200"/>
                  </a:lnTo>
                  <a:lnTo>
                    <a:pt x="584" y="214"/>
                  </a:lnTo>
                  <a:lnTo>
                    <a:pt x="616" y="22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/>
            <a:lstStyle/>
            <a:p>
              <a:pPr algn="ctr"/>
              <a:endParaRPr lang="en-US" sz="800" dirty="0"/>
            </a:p>
          </p:txBody>
        </p:sp>
        <p:sp>
          <p:nvSpPr>
            <p:cNvPr id="20" name="Freeform 204">
              <a:extLst>
                <a:ext uri="{FF2B5EF4-FFF2-40B4-BE49-F238E27FC236}">
                  <a16:creationId xmlns:a16="http://schemas.microsoft.com/office/drawing/2014/main" id="{11B12AC1-FFEB-44D2-961E-E8D7BE9E4F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62438" y="4833938"/>
              <a:ext cx="722312" cy="625475"/>
            </a:xfrm>
            <a:custGeom>
              <a:avLst/>
              <a:gdLst>
                <a:gd name="T0" fmla="*/ 427 w 455"/>
                <a:gd name="T1" fmla="*/ 388 h 394"/>
                <a:gd name="T2" fmla="*/ 404 w 455"/>
                <a:gd name="T3" fmla="*/ 372 h 394"/>
                <a:gd name="T4" fmla="*/ 79 w 455"/>
                <a:gd name="T5" fmla="*/ 41 h 394"/>
                <a:gd name="T6" fmla="*/ 83 w 455"/>
                <a:gd name="T7" fmla="*/ 70 h 394"/>
                <a:gd name="T8" fmla="*/ 79 w 455"/>
                <a:gd name="T9" fmla="*/ 91 h 394"/>
                <a:gd name="T10" fmla="*/ 96 w 455"/>
                <a:gd name="T11" fmla="*/ 107 h 394"/>
                <a:gd name="T12" fmla="*/ 106 w 455"/>
                <a:gd name="T13" fmla="*/ 124 h 394"/>
                <a:gd name="T14" fmla="*/ 115 w 455"/>
                <a:gd name="T15" fmla="*/ 139 h 394"/>
                <a:gd name="T16" fmla="*/ 171 w 455"/>
                <a:gd name="T17" fmla="*/ 136 h 394"/>
                <a:gd name="T18" fmla="*/ 181 w 455"/>
                <a:gd name="T19" fmla="*/ 108 h 394"/>
                <a:gd name="T20" fmla="*/ 213 w 455"/>
                <a:gd name="T21" fmla="*/ 147 h 394"/>
                <a:gd name="T22" fmla="*/ 235 w 455"/>
                <a:gd name="T23" fmla="*/ 148 h 394"/>
                <a:gd name="T24" fmla="*/ 273 w 455"/>
                <a:gd name="T25" fmla="*/ 167 h 394"/>
                <a:gd name="T26" fmla="*/ 277 w 455"/>
                <a:gd name="T27" fmla="*/ 195 h 394"/>
                <a:gd name="T28" fmla="*/ 254 w 455"/>
                <a:gd name="T29" fmla="*/ 209 h 394"/>
                <a:gd name="T30" fmla="*/ 344 w 455"/>
                <a:gd name="T31" fmla="*/ 201 h 394"/>
                <a:gd name="T32" fmla="*/ 393 w 455"/>
                <a:gd name="T33" fmla="*/ 212 h 394"/>
                <a:gd name="T34" fmla="*/ 403 w 455"/>
                <a:gd name="T35" fmla="*/ 230 h 394"/>
                <a:gd name="T36" fmla="*/ 417 w 455"/>
                <a:gd name="T37" fmla="*/ 230 h 394"/>
                <a:gd name="T38" fmla="*/ 444 w 455"/>
                <a:gd name="T39" fmla="*/ 265 h 394"/>
                <a:gd name="T40" fmla="*/ 428 w 455"/>
                <a:gd name="T41" fmla="*/ 276 h 394"/>
                <a:gd name="T42" fmla="*/ 423 w 455"/>
                <a:gd name="T43" fmla="*/ 284 h 394"/>
                <a:gd name="T44" fmla="*/ 407 w 455"/>
                <a:gd name="T45" fmla="*/ 308 h 394"/>
                <a:gd name="T46" fmla="*/ 409 w 455"/>
                <a:gd name="T47" fmla="*/ 332 h 394"/>
                <a:gd name="T48" fmla="*/ 438 w 455"/>
                <a:gd name="T49" fmla="*/ 321 h 394"/>
                <a:gd name="T50" fmla="*/ 455 w 455"/>
                <a:gd name="T51" fmla="*/ 314 h 394"/>
                <a:gd name="T52" fmla="*/ 433 w 455"/>
                <a:gd name="T53" fmla="*/ 373 h 394"/>
                <a:gd name="T54" fmla="*/ 415 w 455"/>
                <a:gd name="T55" fmla="*/ 364 h 394"/>
                <a:gd name="T56" fmla="*/ 404 w 455"/>
                <a:gd name="T57" fmla="*/ 364 h 394"/>
                <a:gd name="T58" fmla="*/ 398 w 455"/>
                <a:gd name="T59" fmla="*/ 365 h 394"/>
                <a:gd name="T60" fmla="*/ 366 w 455"/>
                <a:gd name="T61" fmla="*/ 357 h 394"/>
                <a:gd name="T62" fmla="*/ 369 w 455"/>
                <a:gd name="T63" fmla="*/ 333 h 394"/>
                <a:gd name="T64" fmla="*/ 366 w 455"/>
                <a:gd name="T65" fmla="*/ 316 h 394"/>
                <a:gd name="T66" fmla="*/ 235 w 455"/>
                <a:gd name="T67" fmla="*/ 306 h 394"/>
                <a:gd name="T68" fmla="*/ 181 w 455"/>
                <a:gd name="T69" fmla="*/ 317 h 394"/>
                <a:gd name="T70" fmla="*/ 138 w 455"/>
                <a:gd name="T71" fmla="*/ 322 h 394"/>
                <a:gd name="T72" fmla="*/ 107 w 455"/>
                <a:gd name="T73" fmla="*/ 348 h 394"/>
                <a:gd name="T74" fmla="*/ 60 w 455"/>
                <a:gd name="T75" fmla="*/ 345 h 394"/>
                <a:gd name="T76" fmla="*/ 58 w 455"/>
                <a:gd name="T77" fmla="*/ 351 h 394"/>
                <a:gd name="T78" fmla="*/ 23 w 455"/>
                <a:gd name="T79" fmla="*/ 360 h 394"/>
                <a:gd name="T80" fmla="*/ 21 w 455"/>
                <a:gd name="T81" fmla="*/ 317 h 394"/>
                <a:gd name="T82" fmla="*/ 21 w 455"/>
                <a:gd name="T83" fmla="*/ 281 h 394"/>
                <a:gd name="T84" fmla="*/ 26 w 455"/>
                <a:gd name="T85" fmla="*/ 218 h 394"/>
                <a:gd name="T86" fmla="*/ 24 w 455"/>
                <a:gd name="T87" fmla="*/ 167 h 394"/>
                <a:gd name="T88" fmla="*/ 34 w 455"/>
                <a:gd name="T89" fmla="*/ 118 h 394"/>
                <a:gd name="T90" fmla="*/ 16 w 455"/>
                <a:gd name="T91" fmla="*/ 73 h 394"/>
                <a:gd name="T92" fmla="*/ 15 w 455"/>
                <a:gd name="T93" fmla="*/ 37 h 394"/>
                <a:gd name="T94" fmla="*/ 10 w 455"/>
                <a:gd name="T95" fmla="*/ 13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55" h="394">
                  <a:moveTo>
                    <a:pt x="404" y="372"/>
                  </a:moveTo>
                  <a:lnTo>
                    <a:pt x="433" y="375"/>
                  </a:lnTo>
                  <a:lnTo>
                    <a:pt x="438" y="394"/>
                  </a:lnTo>
                  <a:lnTo>
                    <a:pt x="427" y="388"/>
                  </a:lnTo>
                  <a:lnTo>
                    <a:pt x="407" y="381"/>
                  </a:lnTo>
                  <a:lnTo>
                    <a:pt x="406" y="376"/>
                  </a:lnTo>
                  <a:lnTo>
                    <a:pt x="396" y="370"/>
                  </a:lnTo>
                  <a:lnTo>
                    <a:pt x="404" y="372"/>
                  </a:lnTo>
                  <a:close/>
                  <a:moveTo>
                    <a:pt x="40" y="2"/>
                  </a:moveTo>
                  <a:lnTo>
                    <a:pt x="68" y="5"/>
                  </a:lnTo>
                  <a:lnTo>
                    <a:pt x="66" y="37"/>
                  </a:lnTo>
                  <a:lnTo>
                    <a:pt x="79" y="41"/>
                  </a:lnTo>
                  <a:lnTo>
                    <a:pt x="79" y="61"/>
                  </a:lnTo>
                  <a:lnTo>
                    <a:pt x="83" y="67"/>
                  </a:lnTo>
                  <a:lnTo>
                    <a:pt x="79" y="69"/>
                  </a:lnTo>
                  <a:lnTo>
                    <a:pt x="83" y="70"/>
                  </a:lnTo>
                  <a:lnTo>
                    <a:pt x="80" y="73"/>
                  </a:lnTo>
                  <a:lnTo>
                    <a:pt x="82" y="78"/>
                  </a:lnTo>
                  <a:lnTo>
                    <a:pt x="76" y="84"/>
                  </a:lnTo>
                  <a:lnTo>
                    <a:pt x="79" y="91"/>
                  </a:lnTo>
                  <a:lnTo>
                    <a:pt x="83" y="96"/>
                  </a:lnTo>
                  <a:lnTo>
                    <a:pt x="82" y="99"/>
                  </a:lnTo>
                  <a:lnTo>
                    <a:pt x="90" y="100"/>
                  </a:lnTo>
                  <a:lnTo>
                    <a:pt x="96" y="107"/>
                  </a:lnTo>
                  <a:lnTo>
                    <a:pt x="101" y="113"/>
                  </a:lnTo>
                  <a:lnTo>
                    <a:pt x="99" y="116"/>
                  </a:lnTo>
                  <a:lnTo>
                    <a:pt x="101" y="123"/>
                  </a:lnTo>
                  <a:lnTo>
                    <a:pt x="106" y="124"/>
                  </a:lnTo>
                  <a:lnTo>
                    <a:pt x="106" y="128"/>
                  </a:lnTo>
                  <a:lnTo>
                    <a:pt x="106" y="132"/>
                  </a:lnTo>
                  <a:lnTo>
                    <a:pt x="111" y="132"/>
                  </a:lnTo>
                  <a:lnTo>
                    <a:pt x="115" y="139"/>
                  </a:lnTo>
                  <a:lnTo>
                    <a:pt x="138" y="140"/>
                  </a:lnTo>
                  <a:lnTo>
                    <a:pt x="157" y="147"/>
                  </a:lnTo>
                  <a:lnTo>
                    <a:pt x="163" y="145"/>
                  </a:lnTo>
                  <a:lnTo>
                    <a:pt x="171" y="136"/>
                  </a:lnTo>
                  <a:lnTo>
                    <a:pt x="171" y="128"/>
                  </a:lnTo>
                  <a:lnTo>
                    <a:pt x="174" y="124"/>
                  </a:lnTo>
                  <a:lnTo>
                    <a:pt x="173" y="120"/>
                  </a:lnTo>
                  <a:lnTo>
                    <a:pt x="181" y="108"/>
                  </a:lnTo>
                  <a:lnTo>
                    <a:pt x="194" y="132"/>
                  </a:lnTo>
                  <a:lnTo>
                    <a:pt x="200" y="139"/>
                  </a:lnTo>
                  <a:lnTo>
                    <a:pt x="206" y="140"/>
                  </a:lnTo>
                  <a:lnTo>
                    <a:pt x="213" y="147"/>
                  </a:lnTo>
                  <a:lnTo>
                    <a:pt x="222" y="148"/>
                  </a:lnTo>
                  <a:lnTo>
                    <a:pt x="224" y="151"/>
                  </a:lnTo>
                  <a:lnTo>
                    <a:pt x="230" y="151"/>
                  </a:lnTo>
                  <a:lnTo>
                    <a:pt x="235" y="148"/>
                  </a:lnTo>
                  <a:lnTo>
                    <a:pt x="241" y="148"/>
                  </a:lnTo>
                  <a:lnTo>
                    <a:pt x="245" y="155"/>
                  </a:lnTo>
                  <a:lnTo>
                    <a:pt x="265" y="167"/>
                  </a:lnTo>
                  <a:lnTo>
                    <a:pt x="273" y="167"/>
                  </a:lnTo>
                  <a:lnTo>
                    <a:pt x="281" y="175"/>
                  </a:lnTo>
                  <a:lnTo>
                    <a:pt x="283" y="183"/>
                  </a:lnTo>
                  <a:lnTo>
                    <a:pt x="275" y="190"/>
                  </a:lnTo>
                  <a:lnTo>
                    <a:pt x="277" y="195"/>
                  </a:lnTo>
                  <a:lnTo>
                    <a:pt x="273" y="195"/>
                  </a:lnTo>
                  <a:lnTo>
                    <a:pt x="273" y="201"/>
                  </a:lnTo>
                  <a:lnTo>
                    <a:pt x="256" y="206"/>
                  </a:lnTo>
                  <a:lnTo>
                    <a:pt x="254" y="209"/>
                  </a:lnTo>
                  <a:lnTo>
                    <a:pt x="254" y="212"/>
                  </a:lnTo>
                  <a:lnTo>
                    <a:pt x="285" y="209"/>
                  </a:lnTo>
                  <a:lnTo>
                    <a:pt x="307" y="212"/>
                  </a:lnTo>
                  <a:lnTo>
                    <a:pt x="344" y="201"/>
                  </a:lnTo>
                  <a:lnTo>
                    <a:pt x="353" y="206"/>
                  </a:lnTo>
                  <a:lnTo>
                    <a:pt x="355" y="220"/>
                  </a:lnTo>
                  <a:lnTo>
                    <a:pt x="377" y="214"/>
                  </a:lnTo>
                  <a:lnTo>
                    <a:pt x="393" y="212"/>
                  </a:lnTo>
                  <a:lnTo>
                    <a:pt x="401" y="215"/>
                  </a:lnTo>
                  <a:lnTo>
                    <a:pt x="401" y="220"/>
                  </a:lnTo>
                  <a:lnTo>
                    <a:pt x="403" y="223"/>
                  </a:lnTo>
                  <a:lnTo>
                    <a:pt x="403" y="230"/>
                  </a:lnTo>
                  <a:lnTo>
                    <a:pt x="406" y="234"/>
                  </a:lnTo>
                  <a:lnTo>
                    <a:pt x="403" y="236"/>
                  </a:lnTo>
                  <a:lnTo>
                    <a:pt x="404" y="238"/>
                  </a:lnTo>
                  <a:lnTo>
                    <a:pt x="417" y="230"/>
                  </a:lnTo>
                  <a:lnTo>
                    <a:pt x="433" y="238"/>
                  </a:lnTo>
                  <a:lnTo>
                    <a:pt x="447" y="239"/>
                  </a:lnTo>
                  <a:lnTo>
                    <a:pt x="449" y="257"/>
                  </a:lnTo>
                  <a:lnTo>
                    <a:pt x="444" y="265"/>
                  </a:lnTo>
                  <a:lnTo>
                    <a:pt x="446" y="270"/>
                  </a:lnTo>
                  <a:lnTo>
                    <a:pt x="431" y="274"/>
                  </a:lnTo>
                  <a:lnTo>
                    <a:pt x="430" y="278"/>
                  </a:lnTo>
                  <a:lnTo>
                    <a:pt x="428" y="276"/>
                  </a:lnTo>
                  <a:lnTo>
                    <a:pt x="428" y="281"/>
                  </a:lnTo>
                  <a:lnTo>
                    <a:pt x="425" y="281"/>
                  </a:lnTo>
                  <a:lnTo>
                    <a:pt x="422" y="282"/>
                  </a:lnTo>
                  <a:lnTo>
                    <a:pt x="423" y="284"/>
                  </a:lnTo>
                  <a:lnTo>
                    <a:pt x="415" y="285"/>
                  </a:lnTo>
                  <a:lnTo>
                    <a:pt x="412" y="292"/>
                  </a:lnTo>
                  <a:lnTo>
                    <a:pt x="406" y="297"/>
                  </a:lnTo>
                  <a:lnTo>
                    <a:pt x="407" y="308"/>
                  </a:lnTo>
                  <a:lnTo>
                    <a:pt x="404" y="311"/>
                  </a:lnTo>
                  <a:lnTo>
                    <a:pt x="406" y="313"/>
                  </a:lnTo>
                  <a:lnTo>
                    <a:pt x="406" y="325"/>
                  </a:lnTo>
                  <a:lnTo>
                    <a:pt x="409" y="332"/>
                  </a:lnTo>
                  <a:lnTo>
                    <a:pt x="423" y="333"/>
                  </a:lnTo>
                  <a:lnTo>
                    <a:pt x="431" y="340"/>
                  </a:lnTo>
                  <a:lnTo>
                    <a:pt x="438" y="335"/>
                  </a:lnTo>
                  <a:lnTo>
                    <a:pt x="438" y="321"/>
                  </a:lnTo>
                  <a:lnTo>
                    <a:pt x="441" y="316"/>
                  </a:lnTo>
                  <a:lnTo>
                    <a:pt x="446" y="314"/>
                  </a:lnTo>
                  <a:lnTo>
                    <a:pt x="451" y="311"/>
                  </a:lnTo>
                  <a:lnTo>
                    <a:pt x="455" y="314"/>
                  </a:lnTo>
                  <a:lnTo>
                    <a:pt x="451" y="330"/>
                  </a:lnTo>
                  <a:lnTo>
                    <a:pt x="452" y="346"/>
                  </a:lnTo>
                  <a:lnTo>
                    <a:pt x="436" y="365"/>
                  </a:lnTo>
                  <a:lnTo>
                    <a:pt x="433" y="373"/>
                  </a:lnTo>
                  <a:lnTo>
                    <a:pt x="396" y="368"/>
                  </a:lnTo>
                  <a:lnTo>
                    <a:pt x="403" y="364"/>
                  </a:lnTo>
                  <a:lnTo>
                    <a:pt x="409" y="367"/>
                  </a:lnTo>
                  <a:lnTo>
                    <a:pt x="415" y="364"/>
                  </a:lnTo>
                  <a:lnTo>
                    <a:pt x="425" y="367"/>
                  </a:lnTo>
                  <a:lnTo>
                    <a:pt x="419" y="364"/>
                  </a:lnTo>
                  <a:lnTo>
                    <a:pt x="409" y="365"/>
                  </a:lnTo>
                  <a:lnTo>
                    <a:pt x="404" y="364"/>
                  </a:lnTo>
                  <a:lnTo>
                    <a:pt x="399" y="364"/>
                  </a:lnTo>
                  <a:lnTo>
                    <a:pt x="388" y="362"/>
                  </a:lnTo>
                  <a:lnTo>
                    <a:pt x="396" y="362"/>
                  </a:lnTo>
                  <a:lnTo>
                    <a:pt x="398" y="365"/>
                  </a:lnTo>
                  <a:lnTo>
                    <a:pt x="396" y="367"/>
                  </a:lnTo>
                  <a:lnTo>
                    <a:pt x="379" y="360"/>
                  </a:lnTo>
                  <a:lnTo>
                    <a:pt x="369" y="360"/>
                  </a:lnTo>
                  <a:lnTo>
                    <a:pt x="366" y="357"/>
                  </a:lnTo>
                  <a:lnTo>
                    <a:pt x="355" y="354"/>
                  </a:lnTo>
                  <a:lnTo>
                    <a:pt x="353" y="348"/>
                  </a:lnTo>
                  <a:lnTo>
                    <a:pt x="369" y="337"/>
                  </a:lnTo>
                  <a:lnTo>
                    <a:pt x="369" y="333"/>
                  </a:lnTo>
                  <a:lnTo>
                    <a:pt x="366" y="335"/>
                  </a:lnTo>
                  <a:lnTo>
                    <a:pt x="368" y="330"/>
                  </a:lnTo>
                  <a:lnTo>
                    <a:pt x="364" y="329"/>
                  </a:lnTo>
                  <a:lnTo>
                    <a:pt x="366" y="316"/>
                  </a:lnTo>
                  <a:lnTo>
                    <a:pt x="358" y="308"/>
                  </a:lnTo>
                  <a:lnTo>
                    <a:pt x="320" y="301"/>
                  </a:lnTo>
                  <a:lnTo>
                    <a:pt x="267" y="309"/>
                  </a:lnTo>
                  <a:lnTo>
                    <a:pt x="235" y="306"/>
                  </a:lnTo>
                  <a:lnTo>
                    <a:pt x="230" y="308"/>
                  </a:lnTo>
                  <a:lnTo>
                    <a:pt x="205" y="308"/>
                  </a:lnTo>
                  <a:lnTo>
                    <a:pt x="194" y="319"/>
                  </a:lnTo>
                  <a:lnTo>
                    <a:pt x="181" y="317"/>
                  </a:lnTo>
                  <a:lnTo>
                    <a:pt x="154" y="309"/>
                  </a:lnTo>
                  <a:lnTo>
                    <a:pt x="144" y="301"/>
                  </a:lnTo>
                  <a:lnTo>
                    <a:pt x="139" y="309"/>
                  </a:lnTo>
                  <a:lnTo>
                    <a:pt x="138" y="322"/>
                  </a:lnTo>
                  <a:lnTo>
                    <a:pt x="128" y="330"/>
                  </a:lnTo>
                  <a:lnTo>
                    <a:pt x="130" y="340"/>
                  </a:lnTo>
                  <a:lnTo>
                    <a:pt x="122" y="346"/>
                  </a:lnTo>
                  <a:lnTo>
                    <a:pt x="107" y="348"/>
                  </a:lnTo>
                  <a:lnTo>
                    <a:pt x="82" y="354"/>
                  </a:lnTo>
                  <a:lnTo>
                    <a:pt x="79" y="351"/>
                  </a:lnTo>
                  <a:lnTo>
                    <a:pt x="60" y="351"/>
                  </a:lnTo>
                  <a:lnTo>
                    <a:pt x="60" y="345"/>
                  </a:lnTo>
                  <a:lnTo>
                    <a:pt x="56" y="340"/>
                  </a:lnTo>
                  <a:lnTo>
                    <a:pt x="56" y="333"/>
                  </a:lnTo>
                  <a:lnTo>
                    <a:pt x="55" y="338"/>
                  </a:lnTo>
                  <a:lnTo>
                    <a:pt x="58" y="351"/>
                  </a:lnTo>
                  <a:lnTo>
                    <a:pt x="50" y="356"/>
                  </a:lnTo>
                  <a:lnTo>
                    <a:pt x="47" y="360"/>
                  </a:lnTo>
                  <a:lnTo>
                    <a:pt x="36" y="357"/>
                  </a:lnTo>
                  <a:lnTo>
                    <a:pt x="23" y="360"/>
                  </a:lnTo>
                  <a:lnTo>
                    <a:pt x="16" y="357"/>
                  </a:lnTo>
                  <a:lnTo>
                    <a:pt x="15" y="346"/>
                  </a:lnTo>
                  <a:lnTo>
                    <a:pt x="24" y="332"/>
                  </a:lnTo>
                  <a:lnTo>
                    <a:pt x="21" y="317"/>
                  </a:lnTo>
                  <a:lnTo>
                    <a:pt x="24" y="309"/>
                  </a:lnTo>
                  <a:lnTo>
                    <a:pt x="32" y="301"/>
                  </a:lnTo>
                  <a:lnTo>
                    <a:pt x="34" y="289"/>
                  </a:lnTo>
                  <a:lnTo>
                    <a:pt x="21" y="281"/>
                  </a:lnTo>
                  <a:lnTo>
                    <a:pt x="23" y="247"/>
                  </a:lnTo>
                  <a:lnTo>
                    <a:pt x="16" y="242"/>
                  </a:lnTo>
                  <a:lnTo>
                    <a:pt x="18" y="226"/>
                  </a:lnTo>
                  <a:lnTo>
                    <a:pt x="26" y="218"/>
                  </a:lnTo>
                  <a:lnTo>
                    <a:pt x="21" y="204"/>
                  </a:lnTo>
                  <a:lnTo>
                    <a:pt x="29" y="198"/>
                  </a:lnTo>
                  <a:lnTo>
                    <a:pt x="26" y="171"/>
                  </a:lnTo>
                  <a:lnTo>
                    <a:pt x="24" y="167"/>
                  </a:lnTo>
                  <a:lnTo>
                    <a:pt x="23" y="131"/>
                  </a:lnTo>
                  <a:lnTo>
                    <a:pt x="26" y="129"/>
                  </a:lnTo>
                  <a:lnTo>
                    <a:pt x="34" y="129"/>
                  </a:lnTo>
                  <a:lnTo>
                    <a:pt x="34" y="118"/>
                  </a:lnTo>
                  <a:lnTo>
                    <a:pt x="31" y="108"/>
                  </a:lnTo>
                  <a:lnTo>
                    <a:pt x="21" y="102"/>
                  </a:lnTo>
                  <a:lnTo>
                    <a:pt x="18" y="94"/>
                  </a:lnTo>
                  <a:lnTo>
                    <a:pt x="16" y="73"/>
                  </a:lnTo>
                  <a:lnTo>
                    <a:pt x="20" y="56"/>
                  </a:lnTo>
                  <a:lnTo>
                    <a:pt x="18" y="53"/>
                  </a:lnTo>
                  <a:lnTo>
                    <a:pt x="18" y="38"/>
                  </a:lnTo>
                  <a:lnTo>
                    <a:pt x="15" y="37"/>
                  </a:lnTo>
                  <a:lnTo>
                    <a:pt x="13" y="29"/>
                  </a:lnTo>
                  <a:lnTo>
                    <a:pt x="0" y="19"/>
                  </a:lnTo>
                  <a:lnTo>
                    <a:pt x="7" y="19"/>
                  </a:lnTo>
                  <a:lnTo>
                    <a:pt x="10" y="13"/>
                  </a:lnTo>
                  <a:lnTo>
                    <a:pt x="36" y="0"/>
                  </a:lnTo>
                  <a:lnTo>
                    <a:pt x="40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/>
            <a:lstStyle/>
            <a:p>
              <a:pPr algn="ctr"/>
              <a:endParaRPr lang="en-US" sz="800" dirty="0"/>
            </a:p>
          </p:txBody>
        </p:sp>
        <p:sp>
          <p:nvSpPr>
            <p:cNvPr id="21" name="Freeform 205">
              <a:extLst>
                <a:ext uri="{FF2B5EF4-FFF2-40B4-BE49-F238E27FC236}">
                  <a16:creationId xmlns:a16="http://schemas.microsoft.com/office/drawing/2014/main" id="{39A421CE-2882-4B3B-81D7-8B9EA078F71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8313" y="4367213"/>
              <a:ext cx="688975" cy="803275"/>
            </a:xfrm>
            <a:custGeom>
              <a:avLst/>
              <a:gdLst>
                <a:gd name="T0" fmla="*/ 423 w 434"/>
                <a:gd name="T1" fmla="*/ 299 h 506"/>
                <a:gd name="T2" fmla="*/ 401 w 434"/>
                <a:gd name="T3" fmla="*/ 291 h 506"/>
                <a:gd name="T4" fmla="*/ 361 w 434"/>
                <a:gd name="T5" fmla="*/ 327 h 506"/>
                <a:gd name="T6" fmla="*/ 335 w 434"/>
                <a:gd name="T7" fmla="*/ 337 h 506"/>
                <a:gd name="T8" fmla="*/ 338 w 434"/>
                <a:gd name="T9" fmla="*/ 375 h 506"/>
                <a:gd name="T10" fmla="*/ 340 w 434"/>
                <a:gd name="T11" fmla="*/ 388 h 506"/>
                <a:gd name="T12" fmla="*/ 338 w 434"/>
                <a:gd name="T13" fmla="*/ 414 h 506"/>
                <a:gd name="T14" fmla="*/ 340 w 434"/>
                <a:gd name="T15" fmla="*/ 431 h 506"/>
                <a:gd name="T16" fmla="*/ 337 w 434"/>
                <a:gd name="T17" fmla="*/ 452 h 506"/>
                <a:gd name="T18" fmla="*/ 324 w 434"/>
                <a:gd name="T19" fmla="*/ 485 h 506"/>
                <a:gd name="T20" fmla="*/ 327 w 434"/>
                <a:gd name="T21" fmla="*/ 492 h 506"/>
                <a:gd name="T22" fmla="*/ 275 w 434"/>
                <a:gd name="T23" fmla="*/ 503 h 506"/>
                <a:gd name="T24" fmla="*/ 246 w 434"/>
                <a:gd name="T25" fmla="*/ 500 h 506"/>
                <a:gd name="T26" fmla="*/ 267 w 434"/>
                <a:gd name="T27" fmla="*/ 489 h 506"/>
                <a:gd name="T28" fmla="*/ 271 w 434"/>
                <a:gd name="T29" fmla="*/ 469 h 506"/>
                <a:gd name="T30" fmla="*/ 235 w 434"/>
                <a:gd name="T31" fmla="*/ 449 h 506"/>
                <a:gd name="T32" fmla="*/ 220 w 434"/>
                <a:gd name="T33" fmla="*/ 445 h 506"/>
                <a:gd name="T34" fmla="*/ 200 w 434"/>
                <a:gd name="T35" fmla="*/ 439 h 506"/>
                <a:gd name="T36" fmla="*/ 184 w 434"/>
                <a:gd name="T37" fmla="*/ 426 h 506"/>
                <a:gd name="T38" fmla="*/ 164 w 434"/>
                <a:gd name="T39" fmla="*/ 418 h 506"/>
                <a:gd name="T40" fmla="*/ 153 w 434"/>
                <a:gd name="T41" fmla="*/ 439 h 506"/>
                <a:gd name="T42" fmla="*/ 105 w 434"/>
                <a:gd name="T43" fmla="*/ 433 h 506"/>
                <a:gd name="T44" fmla="*/ 96 w 434"/>
                <a:gd name="T45" fmla="*/ 422 h 506"/>
                <a:gd name="T46" fmla="*/ 89 w 434"/>
                <a:gd name="T47" fmla="*/ 410 h 506"/>
                <a:gd name="T48" fmla="*/ 80 w 434"/>
                <a:gd name="T49" fmla="*/ 394 h 506"/>
                <a:gd name="T50" fmla="*/ 69 w 434"/>
                <a:gd name="T51" fmla="*/ 385 h 506"/>
                <a:gd name="T52" fmla="*/ 70 w 434"/>
                <a:gd name="T53" fmla="*/ 367 h 506"/>
                <a:gd name="T54" fmla="*/ 73 w 434"/>
                <a:gd name="T55" fmla="*/ 361 h 506"/>
                <a:gd name="T56" fmla="*/ 56 w 434"/>
                <a:gd name="T57" fmla="*/ 331 h 506"/>
                <a:gd name="T58" fmla="*/ 38 w 434"/>
                <a:gd name="T59" fmla="*/ 296 h 506"/>
                <a:gd name="T60" fmla="*/ 10 w 434"/>
                <a:gd name="T61" fmla="*/ 270 h 506"/>
                <a:gd name="T62" fmla="*/ 16 w 434"/>
                <a:gd name="T63" fmla="*/ 244 h 506"/>
                <a:gd name="T64" fmla="*/ 2 w 434"/>
                <a:gd name="T65" fmla="*/ 213 h 506"/>
                <a:gd name="T66" fmla="*/ 5 w 434"/>
                <a:gd name="T67" fmla="*/ 189 h 506"/>
                <a:gd name="T68" fmla="*/ 14 w 434"/>
                <a:gd name="T69" fmla="*/ 182 h 506"/>
                <a:gd name="T70" fmla="*/ 19 w 434"/>
                <a:gd name="T71" fmla="*/ 165 h 506"/>
                <a:gd name="T72" fmla="*/ 21 w 434"/>
                <a:gd name="T73" fmla="*/ 154 h 506"/>
                <a:gd name="T74" fmla="*/ 46 w 434"/>
                <a:gd name="T75" fmla="*/ 142 h 506"/>
                <a:gd name="T76" fmla="*/ 62 w 434"/>
                <a:gd name="T77" fmla="*/ 133 h 506"/>
                <a:gd name="T78" fmla="*/ 93 w 434"/>
                <a:gd name="T79" fmla="*/ 110 h 506"/>
                <a:gd name="T80" fmla="*/ 195 w 434"/>
                <a:gd name="T81" fmla="*/ 67 h 506"/>
                <a:gd name="T82" fmla="*/ 265 w 434"/>
                <a:gd name="T83" fmla="*/ 16 h 506"/>
                <a:gd name="T84" fmla="*/ 281 w 434"/>
                <a:gd name="T85" fmla="*/ 2 h 506"/>
                <a:gd name="T86" fmla="*/ 319 w 434"/>
                <a:gd name="T87" fmla="*/ 51 h 506"/>
                <a:gd name="T88" fmla="*/ 393 w 434"/>
                <a:gd name="T89" fmla="*/ 47 h 506"/>
                <a:gd name="T90" fmla="*/ 356 w 434"/>
                <a:gd name="T91" fmla="*/ 102 h 506"/>
                <a:gd name="T92" fmla="*/ 385 w 434"/>
                <a:gd name="T93" fmla="*/ 166 h 506"/>
                <a:gd name="T94" fmla="*/ 417 w 434"/>
                <a:gd name="T95" fmla="*/ 232 h 506"/>
                <a:gd name="T96" fmla="*/ 425 w 434"/>
                <a:gd name="T97" fmla="*/ 283 h 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34" h="506">
                  <a:moveTo>
                    <a:pt x="431" y="284"/>
                  </a:moveTo>
                  <a:lnTo>
                    <a:pt x="434" y="294"/>
                  </a:lnTo>
                  <a:lnTo>
                    <a:pt x="423" y="299"/>
                  </a:lnTo>
                  <a:lnTo>
                    <a:pt x="410" y="297"/>
                  </a:lnTo>
                  <a:lnTo>
                    <a:pt x="407" y="291"/>
                  </a:lnTo>
                  <a:lnTo>
                    <a:pt x="401" y="291"/>
                  </a:lnTo>
                  <a:lnTo>
                    <a:pt x="380" y="304"/>
                  </a:lnTo>
                  <a:lnTo>
                    <a:pt x="366" y="316"/>
                  </a:lnTo>
                  <a:lnTo>
                    <a:pt x="361" y="327"/>
                  </a:lnTo>
                  <a:lnTo>
                    <a:pt x="343" y="327"/>
                  </a:lnTo>
                  <a:lnTo>
                    <a:pt x="334" y="332"/>
                  </a:lnTo>
                  <a:lnTo>
                    <a:pt x="335" y="337"/>
                  </a:lnTo>
                  <a:lnTo>
                    <a:pt x="332" y="361"/>
                  </a:lnTo>
                  <a:lnTo>
                    <a:pt x="337" y="364"/>
                  </a:lnTo>
                  <a:lnTo>
                    <a:pt x="338" y="375"/>
                  </a:lnTo>
                  <a:lnTo>
                    <a:pt x="337" y="377"/>
                  </a:lnTo>
                  <a:lnTo>
                    <a:pt x="342" y="382"/>
                  </a:lnTo>
                  <a:lnTo>
                    <a:pt x="340" y="388"/>
                  </a:lnTo>
                  <a:lnTo>
                    <a:pt x="342" y="390"/>
                  </a:lnTo>
                  <a:lnTo>
                    <a:pt x="345" y="404"/>
                  </a:lnTo>
                  <a:lnTo>
                    <a:pt x="338" y="414"/>
                  </a:lnTo>
                  <a:lnTo>
                    <a:pt x="340" y="423"/>
                  </a:lnTo>
                  <a:lnTo>
                    <a:pt x="335" y="423"/>
                  </a:lnTo>
                  <a:lnTo>
                    <a:pt x="340" y="431"/>
                  </a:lnTo>
                  <a:lnTo>
                    <a:pt x="337" y="441"/>
                  </a:lnTo>
                  <a:lnTo>
                    <a:pt x="332" y="447"/>
                  </a:lnTo>
                  <a:lnTo>
                    <a:pt x="337" y="452"/>
                  </a:lnTo>
                  <a:lnTo>
                    <a:pt x="337" y="458"/>
                  </a:lnTo>
                  <a:lnTo>
                    <a:pt x="326" y="477"/>
                  </a:lnTo>
                  <a:lnTo>
                    <a:pt x="324" y="485"/>
                  </a:lnTo>
                  <a:lnTo>
                    <a:pt x="327" y="489"/>
                  </a:lnTo>
                  <a:lnTo>
                    <a:pt x="322" y="492"/>
                  </a:lnTo>
                  <a:lnTo>
                    <a:pt x="327" y="492"/>
                  </a:lnTo>
                  <a:lnTo>
                    <a:pt x="327" y="495"/>
                  </a:lnTo>
                  <a:lnTo>
                    <a:pt x="297" y="506"/>
                  </a:lnTo>
                  <a:lnTo>
                    <a:pt x="275" y="503"/>
                  </a:lnTo>
                  <a:lnTo>
                    <a:pt x="244" y="506"/>
                  </a:lnTo>
                  <a:lnTo>
                    <a:pt x="244" y="503"/>
                  </a:lnTo>
                  <a:lnTo>
                    <a:pt x="246" y="500"/>
                  </a:lnTo>
                  <a:lnTo>
                    <a:pt x="263" y="495"/>
                  </a:lnTo>
                  <a:lnTo>
                    <a:pt x="263" y="489"/>
                  </a:lnTo>
                  <a:lnTo>
                    <a:pt x="267" y="489"/>
                  </a:lnTo>
                  <a:lnTo>
                    <a:pt x="265" y="484"/>
                  </a:lnTo>
                  <a:lnTo>
                    <a:pt x="273" y="477"/>
                  </a:lnTo>
                  <a:lnTo>
                    <a:pt x="271" y="469"/>
                  </a:lnTo>
                  <a:lnTo>
                    <a:pt x="263" y="461"/>
                  </a:lnTo>
                  <a:lnTo>
                    <a:pt x="251" y="458"/>
                  </a:lnTo>
                  <a:lnTo>
                    <a:pt x="235" y="449"/>
                  </a:lnTo>
                  <a:lnTo>
                    <a:pt x="231" y="442"/>
                  </a:lnTo>
                  <a:lnTo>
                    <a:pt x="225" y="442"/>
                  </a:lnTo>
                  <a:lnTo>
                    <a:pt x="220" y="445"/>
                  </a:lnTo>
                  <a:lnTo>
                    <a:pt x="214" y="445"/>
                  </a:lnTo>
                  <a:lnTo>
                    <a:pt x="212" y="442"/>
                  </a:lnTo>
                  <a:lnTo>
                    <a:pt x="200" y="439"/>
                  </a:lnTo>
                  <a:lnTo>
                    <a:pt x="198" y="434"/>
                  </a:lnTo>
                  <a:lnTo>
                    <a:pt x="190" y="433"/>
                  </a:lnTo>
                  <a:lnTo>
                    <a:pt x="184" y="426"/>
                  </a:lnTo>
                  <a:lnTo>
                    <a:pt x="171" y="402"/>
                  </a:lnTo>
                  <a:lnTo>
                    <a:pt x="163" y="414"/>
                  </a:lnTo>
                  <a:lnTo>
                    <a:pt x="164" y="418"/>
                  </a:lnTo>
                  <a:lnTo>
                    <a:pt x="161" y="422"/>
                  </a:lnTo>
                  <a:lnTo>
                    <a:pt x="161" y="430"/>
                  </a:lnTo>
                  <a:lnTo>
                    <a:pt x="153" y="439"/>
                  </a:lnTo>
                  <a:lnTo>
                    <a:pt x="147" y="441"/>
                  </a:lnTo>
                  <a:lnTo>
                    <a:pt x="128" y="434"/>
                  </a:lnTo>
                  <a:lnTo>
                    <a:pt x="105" y="433"/>
                  </a:lnTo>
                  <a:lnTo>
                    <a:pt x="101" y="426"/>
                  </a:lnTo>
                  <a:lnTo>
                    <a:pt x="96" y="426"/>
                  </a:lnTo>
                  <a:lnTo>
                    <a:pt x="96" y="422"/>
                  </a:lnTo>
                  <a:lnTo>
                    <a:pt x="96" y="418"/>
                  </a:lnTo>
                  <a:lnTo>
                    <a:pt x="91" y="417"/>
                  </a:lnTo>
                  <a:lnTo>
                    <a:pt x="89" y="410"/>
                  </a:lnTo>
                  <a:lnTo>
                    <a:pt x="91" y="407"/>
                  </a:lnTo>
                  <a:lnTo>
                    <a:pt x="86" y="401"/>
                  </a:lnTo>
                  <a:lnTo>
                    <a:pt x="80" y="394"/>
                  </a:lnTo>
                  <a:lnTo>
                    <a:pt x="72" y="393"/>
                  </a:lnTo>
                  <a:lnTo>
                    <a:pt x="73" y="390"/>
                  </a:lnTo>
                  <a:lnTo>
                    <a:pt x="69" y="385"/>
                  </a:lnTo>
                  <a:lnTo>
                    <a:pt x="66" y="378"/>
                  </a:lnTo>
                  <a:lnTo>
                    <a:pt x="72" y="372"/>
                  </a:lnTo>
                  <a:lnTo>
                    <a:pt x="70" y="367"/>
                  </a:lnTo>
                  <a:lnTo>
                    <a:pt x="73" y="364"/>
                  </a:lnTo>
                  <a:lnTo>
                    <a:pt x="69" y="363"/>
                  </a:lnTo>
                  <a:lnTo>
                    <a:pt x="73" y="361"/>
                  </a:lnTo>
                  <a:lnTo>
                    <a:pt x="69" y="355"/>
                  </a:lnTo>
                  <a:lnTo>
                    <a:pt x="69" y="335"/>
                  </a:lnTo>
                  <a:lnTo>
                    <a:pt x="56" y="331"/>
                  </a:lnTo>
                  <a:lnTo>
                    <a:pt x="58" y="299"/>
                  </a:lnTo>
                  <a:lnTo>
                    <a:pt x="42" y="297"/>
                  </a:lnTo>
                  <a:lnTo>
                    <a:pt x="38" y="296"/>
                  </a:lnTo>
                  <a:lnTo>
                    <a:pt x="26" y="294"/>
                  </a:lnTo>
                  <a:lnTo>
                    <a:pt x="0" y="307"/>
                  </a:lnTo>
                  <a:lnTo>
                    <a:pt x="10" y="270"/>
                  </a:lnTo>
                  <a:lnTo>
                    <a:pt x="10" y="254"/>
                  </a:lnTo>
                  <a:lnTo>
                    <a:pt x="13" y="252"/>
                  </a:lnTo>
                  <a:lnTo>
                    <a:pt x="16" y="244"/>
                  </a:lnTo>
                  <a:lnTo>
                    <a:pt x="14" y="237"/>
                  </a:lnTo>
                  <a:lnTo>
                    <a:pt x="8" y="229"/>
                  </a:lnTo>
                  <a:lnTo>
                    <a:pt x="2" y="213"/>
                  </a:lnTo>
                  <a:lnTo>
                    <a:pt x="2" y="205"/>
                  </a:lnTo>
                  <a:lnTo>
                    <a:pt x="6" y="197"/>
                  </a:lnTo>
                  <a:lnTo>
                    <a:pt x="5" y="189"/>
                  </a:lnTo>
                  <a:lnTo>
                    <a:pt x="6" y="185"/>
                  </a:lnTo>
                  <a:lnTo>
                    <a:pt x="11" y="185"/>
                  </a:lnTo>
                  <a:lnTo>
                    <a:pt x="14" y="182"/>
                  </a:lnTo>
                  <a:lnTo>
                    <a:pt x="16" y="173"/>
                  </a:lnTo>
                  <a:lnTo>
                    <a:pt x="14" y="171"/>
                  </a:lnTo>
                  <a:lnTo>
                    <a:pt x="19" y="165"/>
                  </a:lnTo>
                  <a:lnTo>
                    <a:pt x="14" y="160"/>
                  </a:lnTo>
                  <a:lnTo>
                    <a:pt x="16" y="155"/>
                  </a:lnTo>
                  <a:lnTo>
                    <a:pt x="21" y="154"/>
                  </a:lnTo>
                  <a:lnTo>
                    <a:pt x="21" y="146"/>
                  </a:lnTo>
                  <a:lnTo>
                    <a:pt x="30" y="142"/>
                  </a:lnTo>
                  <a:lnTo>
                    <a:pt x="46" y="142"/>
                  </a:lnTo>
                  <a:lnTo>
                    <a:pt x="56" y="139"/>
                  </a:lnTo>
                  <a:lnTo>
                    <a:pt x="59" y="133"/>
                  </a:lnTo>
                  <a:lnTo>
                    <a:pt x="62" y="133"/>
                  </a:lnTo>
                  <a:lnTo>
                    <a:pt x="75" y="117"/>
                  </a:lnTo>
                  <a:lnTo>
                    <a:pt x="80" y="117"/>
                  </a:lnTo>
                  <a:lnTo>
                    <a:pt x="93" y="110"/>
                  </a:lnTo>
                  <a:lnTo>
                    <a:pt x="107" y="90"/>
                  </a:lnTo>
                  <a:lnTo>
                    <a:pt x="148" y="85"/>
                  </a:lnTo>
                  <a:lnTo>
                    <a:pt x="195" y="67"/>
                  </a:lnTo>
                  <a:lnTo>
                    <a:pt x="238" y="58"/>
                  </a:lnTo>
                  <a:lnTo>
                    <a:pt x="254" y="37"/>
                  </a:lnTo>
                  <a:lnTo>
                    <a:pt x="265" y="16"/>
                  </a:lnTo>
                  <a:lnTo>
                    <a:pt x="265" y="8"/>
                  </a:lnTo>
                  <a:lnTo>
                    <a:pt x="273" y="0"/>
                  </a:lnTo>
                  <a:lnTo>
                    <a:pt x="281" y="2"/>
                  </a:lnTo>
                  <a:lnTo>
                    <a:pt x="297" y="34"/>
                  </a:lnTo>
                  <a:lnTo>
                    <a:pt x="306" y="47"/>
                  </a:lnTo>
                  <a:lnTo>
                    <a:pt x="319" y="51"/>
                  </a:lnTo>
                  <a:lnTo>
                    <a:pt x="346" y="58"/>
                  </a:lnTo>
                  <a:lnTo>
                    <a:pt x="380" y="53"/>
                  </a:lnTo>
                  <a:lnTo>
                    <a:pt x="393" y="47"/>
                  </a:lnTo>
                  <a:lnTo>
                    <a:pt x="397" y="50"/>
                  </a:lnTo>
                  <a:lnTo>
                    <a:pt x="394" y="59"/>
                  </a:lnTo>
                  <a:lnTo>
                    <a:pt x="356" y="102"/>
                  </a:lnTo>
                  <a:lnTo>
                    <a:pt x="353" y="117"/>
                  </a:lnTo>
                  <a:lnTo>
                    <a:pt x="364" y="139"/>
                  </a:lnTo>
                  <a:lnTo>
                    <a:pt x="385" y="166"/>
                  </a:lnTo>
                  <a:lnTo>
                    <a:pt x="391" y="184"/>
                  </a:lnTo>
                  <a:lnTo>
                    <a:pt x="413" y="217"/>
                  </a:lnTo>
                  <a:lnTo>
                    <a:pt x="417" y="232"/>
                  </a:lnTo>
                  <a:lnTo>
                    <a:pt x="417" y="262"/>
                  </a:lnTo>
                  <a:lnTo>
                    <a:pt x="420" y="276"/>
                  </a:lnTo>
                  <a:lnTo>
                    <a:pt x="425" y="283"/>
                  </a:lnTo>
                  <a:lnTo>
                    <a:pt x="431" y="28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/>
            <a:lstStyle/>
            <a:p>
              <a:pPr algn="ctr"/>
              <a:endParaRPr lang="en-US" sz="800" dirty="0"/>
            </a:p>
          </p:txBody>
        </p:sp>
        <p:sp>
          <p:nvSpPr>
            <p:cNvPr id="22" name="Freeform 206">
              <a:extLst>
                <a:ext uri="{FF2B5EF4-FFF2-40B4-BE49-F238E27FC236}">
                  <a16:creationId xmlns:a16="http://schemas.microsoft.com/office/drawing/2014/main" id="{D0066E5E-06C5-492A-8FAB-E5399ECA17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9825" y="2814638"/>
              <a:ext cx="990600" cy="933450"/>
            </a:xfrm>
            <a:custGeom>
              <a:avLst/>
              <a:gdLst>
                <a:gd name="T0" fmla="*/ 589 w 624"/>
                <a:gd name="T1" fmla="*/ 109 h 588"/>
                <a:gd name="T2" fmla="*/ 597 w 624"/>
                <a:gd name="T3" fmla="*/ 233 h 588"/>
                <a:gd name="T4" fmla="*/ 621 w 624"/>
                <a:gd name="T5" fmla="*/ 308 h 588"/>
                <a:gd name="T6" fmla="*/ 619 w 624"/>
                <a:gd name="T7" fmla="*/ 323 h 588"/>
                <a:gd name="T8" fmla="*/ 573 w 624"/>
                <a:gd name="T9" fmla="*/ 364 h 588"/>
                <a:gd name="T10" fmla="*/ 557 w 624"/>
                <a:gd name="T11" fmla="*/ 391 h 588"/>
                <a:gd name="T12" fmla="*/ 563 w 624"/>
                <a:gd name="T13" fmla="*/ 449 h 588"/>
                <a:gd name="T14" fmla="*/ 543 w 624"/>
                <a:gd name="T15" fmla="*/ 482 h 588"/>
                <a:gd name="T16" fmla="*/ 522 w 624"/>
                <a:gd name="T17" fmla="*/ 517 h 588"/>
                <a:gd name="T18" fmla="*/ 519 w 624"/>
                <a:gd name="T19" fmla="*/ 529 h 588"/>
                <a:gd name="T20" fmla="*/ 509 w 624"/>
                <a:gd name="T21" fmla="*/ 543 h 588"/>
                <a:gd name="T22" fmla="*/ 487 w 624"/>
                <a:gd name="T23" fmla="*/ 551 h 588"/>
                <a:gd name="T24" fmla="*/ 458 w 624"/>
                <a:gd name="T25" fmla="*/ 556 h 588"/>
                <a:gd name="T26" fmla="*/ 439 w 624"/>
                <a:gd name="T27" fmla="*/ 548 h 588"/>
                <a:gd name="T28" fmla="*/ 423 w 624"/>
                <a:gd name="T29" fmla="*/ 556 h 588"/>
                <a:gd name="T30" fmla="*/ 404 w 624"/>
                <a:gd name="T31" fmla="*/ 576 h 588"/>
                <a:gd name="T32" fmla="*/ 389 w 624"/>
                <a:gd name="T33" fmla="*/ 586 h 588"/>
                <a:gd name="T34" fmla="*/ 369 w 624"/>
                <a:gd name="T35" fmla="*/ 533 h 588"/>
                <a:gd name="T36" fmla="*/ 322 w 624"/>
                <a:gd name="T37" fmla="*/ 446 h 588"/>
                <a:gd name="T38" fmla="*/ 322 w 624"/>
                <a:gd name="T39" fmla="*/ 406 h 588"/>
                <a:gd name="T40" fmla="*/ 298 w 624"/>
                <a:gd name="T41" fmla="*/ 391 h 588"/>
                <a:gd name="T42" fmla="*/ 281 w 624"/>
                <a:gd name="T43" fmla="*/ 398 h 588"/>
                <a:gd name="T44" fmla="*/ 260 w 624"/>
                <a:gd name="T45" fmla="*/ 398 h 588"/>
                <a:gd name="T46" fmla="*/ 249 w 624"/>
                <a:gd name="T47" fmla="*/ 395 h 588"/>
                <a:gd name="T48" fmla="*/ 225 w 624"/>
                <a:gd name="T49" fmla="*/ 396 h 588"/>
                <a:gd name="T50" fmla="*/ 201 w 624"/>
                <a:gd name="T51" fmla="*/ 383 h 588"/>
                <a:gd name="T52" fmla="*/ 191 w 624"/>
                <a:gd name="T53" fmla="*/ 371 h 588"/>
                <a:gd name="T54" fmla="*/ 180 w 624"/>
                <a:gd name="T55" fmla="*/ 369 h 588"/>
                <a:gd name="T56" fmla="*/ 156 w 624"/>
                <a:gd name="T57" fmla="*/ 369 h 588"/>
                <a:gd name="T58" fmla="*/ 139 w 624"/>
                <a:gd name="T59" fmla="*/ 380 h 588"/>
                <a:gd name="T60" fmla="*/ 120 w 624"/>
                <a:gd name="T61" fmla="*/ 377 h 588"/>
                <a:gd name="T62" fmla="*/ 93 w 624"/>
                <a:gd name="T63" fmla="*/ 377 h 588"/>
                <a:gd name="T64" fmla="*/ 81 w 624"/>
                <a:gd name="T65" fmla="*/ 375 h 588"/>
                <a:gd name="T66" fmla="*/ 62 w 624"/>
                <a:gd name="T67" fmla="*/ 385 h 588"/>
                <a:gd name="T68" fmla="*/ 38 w 624"/>
                <a:gd name="T69" fmla="*/ 390 h 588"/>
                <a:gd name="T70" fmla="*/ 21 w 624"/>
                <a:gd name="T71" fmla="*/ 399 h 588"/>
                <a:gd name="T72" fmla="*/ 2 w 624"/>
                <a:gd name="T73" fmla="*/ 402 h 588"/>
                <a:gd name="T74" fmla="*/ 19 w 624"/>
                <a:gd name="T75" fmla="*/ 335 h 588"/>
                <a:gd name="T76" fmla="*/ 35 w 624"/>
                <a:gd name="T77" fmla="*/ 305 h 588"/>
                <a:gd name="T78" fmla="*/ 88 w 624"/>
                <a:gd name="T79" fmla="*/ 268 h 588"/>
                <a:gd name="T80" fmla="*/ 235 w 624"/>
                <a:gd name="T81" fmla="*/ 249 h 588"/>
                <a:gd name="T82" fmla="*/ 340 w 624"/>
                <a:gd name="T83" fmla="*/ 238 h 588"/>
                <a:gd name="T84" fmla="*/ 386 w 624"/>
                <a:gd name="T85" fmla="*/ 154 h 588"/>
                <a:gd name="T86" fmla="*/ 377 w 624"/>
                <a:gd name="T87" fmla="*/ 72 h 588"/>
                <a:gd name="T88" fmla="*/ 361 w 624"/>
                <a:gd name="T89" fmla="*/ 8 h 588"/>
                <a:gd name="T90" fmla="*/ 440 w 624"/>
                <a:gd name="T91" fmla="*/ 23 h 588"/>
                <a:gd name="T92" fmla="*/ 511 w 624"/>
                <a:gd name="T93" fmla="*/ 5 h 588"/>
                <a:gd name="T94" fmla="*/ 555 w 624"/>
                <a:gd name="T95" fmla="*/ 59 h 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24" h="588">
                  <a:moveTo>
                    <a:pt x="589" y="77"/>
                  </a:moveTo>
                  <a:lnTo>
                    <a:pt x="590" y="90"/>
                  </a:lnTo>
                  <a:lnTo>
                    <a:pt x="594" y="95"/>
                  </a:lnTo>
                  <a:lnTo>
                    <a:pt x="589" y="109"/>
                  </a:lnTo>
                  <a:lnTo>
                    <a:pt x="590" y="125"/>
                  </a:lnTo>
                  <a:lnTo>
                    <a:pt x="594" y="149"/>
                  </a:lnTo>
                  <a:lnTo>
                    <a:pt x="592" y="168"/>
                  </a:lnTo>
                  <a:lnTo>
                    <a:pt x="597" y="233"/>
                  </a:lnTo>
                  <a:lnTo>
                    <a:pt x="608" y="254"/>
                  </a:lnTo>
                  <a:lnTo>
                    <a:pt x="622" y="265"/>
                  </a:lnTo>
                  <a:lnTo>
                    <a:pt x="618" y="296"/>
                  </a:lnTo>
                  <a:lnTo>
                    <a:pt x="621" y="308"/>
                  </a:lnTo>
                  <a:lnTo>
                    <a:pt x="624" y="313"/>
                  </a:lnTo>
                  <a:lnTo>
                    <a:pt x="621" y="316"/>
                  </a:lnTo>
                  <a:lnTo>
                    <a:pt x="621" y="321"/>
                  </a:lnTo>
                  <a:lnTo>
                    <a:pt x="619" y="323"/>
                  </a:lnTo>
                  <a:lnTo>
                    <a:pt x="619" y="331"/>
                  </a:lnTo>
                  <a:lnTo>
                    <a:pt x="606" y="347"/>
                  </a:lnTo>
                  <a:lnTo>
                    <a:pt x="589" y="361"/>
                  </a:lnTo>
                  <a:lnTo>
                    <a:pt x="573" y="364"/>
                  </a:lnTo>
                  <a:lnTo>
                    <a:pt x="565" y="369"/>
                  </a:lnTo>
                  <a:lnTo>
                    <a:pt x="563" y="366"/>
                  </a:lnTo>
                  <a:lnTo>
                    <a:pt x="560" y="371"/>
                  </a:lnTo>
                  <a:lnTo>
                    <a:pt x="557" y="391"/>
                  </a:lnTo>
                  <a:lnTo>
                    <a:pt x="551" y="412"/>
                  </a:lnTo>
                  <a:lnTo>
                    <a:pt x="555" y="428"/>
                  </a:lnTo>
                  <a:lnTo>
                    <a:pt x="565" y="441"/>
                  </a:lnTo>
                  <a:lnTo>
                    <a:pt x="563" y="449"/>
                  </a:lnTo>
                  <a:lnTo>
                    <a:pt x="557" y="457"/>
                  </a:lnTo>
                  <a:lnTo>
                    <a:pt x="560" y="463"/>
                  </a:lnTo>
                  <a:lnTo>
                    <a:pt x="547" y="482"/>
                  </a:lnTo>
                  <a:lnTo>
                    <a:pt x="543" y="482"/>
                  </a:lnTo>
                  <a:lnTo>
                    <a:pt x="527" y="493"/>
                  </a:lnTo>
                  <a:lnTo>
                    <a:pt x="523" y="508"/>
                  </a:lnTo>
                  <a:lnTo>
                    <a:pt x="525" y="514"/>
                  </a:lnTo>
                  <a:lnTo>
                    <a:pt x="522" y="517"/>
                  </a:lnTo>
                  <a:lnTo>
                    <a:pt x="523" y="521"/>
                  </a:lnTo>
                  <a:lnTo>
                    <a:pt x="519" y="524"/>
                  </a:lnTo>
                  <a:lnTo>
                    <a:pt x="517" y="527"/>
                  </a:lnTo>
                  <a:lnTo>
                    <a:pt x="519" y="529"/>
                  </a:lnTo>
                  <a:lnTo>
                    <a:pt x="519" y="530"/>
                  </a:lnTo>
                  <a:lnTo>
                    <a:pt x="512" y="533"/>
                  </a:lnTo>
                  <a:lnTo>
                    <a:pt x="514" y="538"/>
                  </a:lnTo>
                  <a:lnTo>
                    <a:pt x="509" y="543"/>
                  </a:lnTo>
                  <a:lnTo>
                    <a:pt x="507" y="541"/>
                  </a:lnTo>
                  <a:lnTo>
                    <a:pt x="503" y="544"/>
                  </a:lnTo>
                  <a:lnTo>
                    <a:pt x="491" y="544"/>
                  </a:lnTo>
                  <a:lnTo>
                    <a:pt x="487" y="551"/>
                  </a:lnTo>
                  <a:lnTo>
                    <a:pt x="476" y="549"/>
                  </a:lnTo>
                  <a:lnTo>
                    <a:pt x="469" y="552"/>
                  </a:lnTo>
                  <a:lnTo>
                    <a:pt x="461" y="551"/>
                  </a:lnTo>
                  <a:lnTo>
                    <a:pt x="458" y="556"/>
                  </a:lnTo>
                  <a:lnTo>
                    <a:pt x="455" y="556"/>
                  </a:lnTo>
                  <a:lnTo>
                    <a:pt x="450" y="549"/>
                  </a:lnTo>
                  <a:lnTo>
                    <a:pt x="445" y="548"/>
                  </a:lnTo>
                  <a:lnTo>
                    <a:pt x="439" y="548"/>
                  </a:lnTo>
                  <a:lnTo>
                    <a:pt x="437" y="551"/>
                  </a:lnTo>
                  <a:lnTo>
                    <a:pt x="426" y="549"/>
                  </a:lnTo>
                  <a:lnTo>
                    <a:pt x="428" y="551"/>
                  </a:lnTo>
                  <a:lnTo>
                    <a:pt x="423" y="556"/>
                  </a:lnTo>
                  <a:lnTo>
                    <a:pt x="416" y="564"/>
                  </a:lnTo>
                  <a:lnTo>
                    <a:pt x="413" y="564"/>
                  </a:lnTo>
                  <a:lnTo>
                    <a:pt x="407" y="568"/>
                  </a:lnTo>
                  <a:lnTo>
                    <a:pt x="404" y="576"/>
                  </a:lnTo>
                  <a:lnTo>
                    <a:pt x="405" y="580"/>
                  </a:lnTo>
                  <a:lnTo>
                    <a:pt x="401" y="588"/>
                  </a:lnTo>
                  <a:lnTo>
                    <a:pt x="396" y="586"/>
                  </a:lnTo>
                  <a:lnTo>
                    <a:pt x="389" y="586"/>
                  </a:lnTo>
                  <a:lnTo>
                    <a:pt x="388" y="565"/>
                  </a:lnTo>
                  <a:lnTo>
                    <a:pt x="380" y="559"/>
                  </a:lnTo>
                  <a:lnTo>
                    <a:pt x="378" y="548"/>
                  </a:lnTo>
                  <a:lnTo>
                    <a:pt x="369" y="533"/>
                  </a:lnTo>
                  <a:lnTo>
                    <a:pt x="357" y="529"/>
                  </a:lnTo>
                  <a:lnTo>
                    <a:pt x="361" y="509"/>
                  </a:lnTo>
                  <a:lnTo>
                    <a:pt x="356" y="485"/>
                  </a:lnTo>
                  <a:lnTo>
                    <a:pt x="322" y="446"/>
                  </a:lnTo>
                  <a:lnTo>
                    <a:pt x="326" y="425"/>
                  </a:lnTo>
                  <a:lnTo>
                    <a:pt x="324" y="410"/>
                  </a:lnTo>
                  <a:lnTo>
                    <a:pt x="321" y="407"/>
                  </a:lnTo>
                  <a:lnTo>
                    <a:pt x="322" y="406"/>
                  </a:lnTo>
                  <a:lnTo>
                    <a:pt x="316" y="402"/>
                  </a:lnTo>
                  <a:lnTo>
                    <a:pt x="314" y="398"/>
                  </a:lnTo>
                  <a:lnTo>
                    <a:pt x="308" y="399"/>
                  </a:lnTo>
                  <a:lnTo>
                    <a:pt x="298" y="391"/>
                  </a:lnTo>
                  <a:lnTo>
                    <a:pt x="290" y="393"/>
                  </a:lnTo>
                  <a:lnTo>
                    <a:pt x="287" y="390"/>
                  </a:lnTo>
                  <a:lnTo>
                    <a:pt x="287" y="393"/>
                  </a:lnTo>
                  <a:lnTo>
                    <a:pt x="281" y="398"/>
                  </a:lnTo>
                  <a:lnTo>
                    <a:pt x="278" y="396"/>
                  </a:lnTo>
                  <a:lnTo>
                    <a:pt x="266" y="398"/>
                  </a:lnTo>
                  <a:lnTo>
                    <a:pt x="262" y="396"/>
                  </a:lnTo>
                  <a:lnTo>
                    <a:pt x="260" y="398"/>
                  </a:lnTo>
                  <a:lnTo>
                    <a:pt x="257" y="395"/>
                  </a:lnTo>
                  <a:lnTo>
                    <a:pt x="254" y="398"/>
                  </a:lnTo>
                  <a:lnTo>
                    <a:pt x="249" y="391"/>
                  </a:lnTo>
                  <a:lnTo>
                    <a:pt x="249" y="395"/>
                  </a:lnTo>
                  <a:lnTo>
                    <a:pt x="244" y="398"/>
                  </a:lnTo>
                  <a:lnTo>
                    <a:pt x="238" y="396"/>
                  </a:lnTo>
                  <a:lnTo>
                    <a:pt x="233" y="399"/>
                  </a:lnTo>
                  <a:lnTo>
                    <a:pt x="225" y="396"/>
                  </a:lnTo>
                  <a:lnTo>
                    <a:pt x="223" y="390"/>
                  </a:lnTo>
                  <a:lnTo>
                    <a:pt x="220" y="387"/>
                  </a:lnTo>
                  <a:lnTo>
                    <a:pt x="199" y="387"/>
                  </a:lnTo>
                  <a:lnTo>
                    <a:pt x="201" y="383"/>
                  </a:lnTo>
                  <a:lnTo>
                    <a:pt x="196" y="379"/>
                  </a:lnTo>
                  <a:lnTo>
                    <a:pt x="195" y="371"/>
                  </a:lnTo>
                  <a:lnTo>
                    <a:pt x="187" y="375"/>
                  </a:lnTo>
                  <a:lnTo>
                    <a:pt x="191" y="371"/>
                  </a:lnTo>
                  <a:lnTo>
                    <a:pt x="191" y="367"/>
                  </a:lnTo>
                  <a:lnTo>
                    <a:pt x="188" y="367"/>
                  </a:lnTo>
                  <a:lnTo>
                    <a:pt x="185" y="372"/>
                  </a:lnTo>
                  <a:lnTo>
                    <a:pt x="180" y="369"/>
                  </a:lnTo>
                  <a:lnTo>
                    <a:pt x="169" y="375"/>
                  </a:lnTo>
                  <a:lnTo>
                    <a:pt x="168" y="371"/>
                  </a:lnTo>
                  <a:lnTo>
                    <a:pt x="160" y="366"/>
                  </a:lnTo>
                  <a:lnTo>
                    <a:pt x="156" y="369"/>
                  </a:lnTo>
                  <a:lnTo>
                    <a:pt x="161" y="372"/>
                  </a:lnTo>
                  <a:lnTo>
                    <a:pt x="160" y="379"/>
                  </a:lnTo>
                  <a:lnTo>
                    <a:pt x="148" y="382"/>
                  </a:lnTo>
                  <a:lnTo>
                    <a:pt x="139" y="380"/>
                  </a:lnTo>
                  <a:lnTo>
                    <a:pt x="132" y="387"/>
                  </a:lnTo>
                  <a:lnTo>
                    <a:pt x="128" y="383"/>
                  </a:lnTo>
                  <a:lnTo>
                    <a:pt x="124" y="383"/>
                  </a:lnTo>
                  <a:lnTo>
                    <a:pt x="120" y="377"/>
                  </a:lnTo>
                  <a:lnTo>
                    <a:pt x="107" y="379"/>
                  </a:lnTo>
                  <a:lnTo>
                    <a:pt x="104" y="383"/>
                  </a:lnTo>
                  <a:lnTo>
                    <a:pt x="93" y="387"/>
                  </a:lnTo>
                  <a:lnTo>
                    <a:pt x="93" y="377"/>
                  </a:lnTo>
                  <a:lnTo>
                    <a:pt x="89" y="377"/>
                  </a:lnTo>
                  <a:lnTo>
                    <a:pt x="88" y="380"/>
                  </a:lnTo>
                  <a:lnTo>
                    <a:pt x="83" y="380"/>
                  </a:lnTo>
                  <a:lnTo>
                    <a:pt x="81" y="375"/>
                  </a:lnTo>
                  <a:lnTo>
                    <a:pt x="75" y="372"/>
                  </a:lnTo>
                  <a:lnTo>
                    <a:pt x="69" y="379"/>
                  </a:lnTo>
                  <a:lnTo>
                    <a:pt x="62" y="380"/>
                  </a:lnTo>
                  <a:lnTo>
                    <a:pt x="62" y="385"/>
                  </a:lnTo>
                  <a:lnTo>
                    <a:pt x="57" y="383"/>
                  </a:lnTo>
                  <a:lnTo>
                    <a:pt x="51" y="390"/>
                  </a:lnTo>
                  <a:lnTo>
                    <a:pt x="41" y="393"/>
                  </a:lnTo>
                  <a:lnTo>
                    <a:pt x="38" y="390"/>
                  </a:lnTo>
                  <a:lnTo>
                    <a:pt x="38" y="395"/>
                  </a:lnTo>
                  <a:lnTo>
                    <a:pt x="32" y="395"/>
                  </a:lnTo>
                  <a:lnTo>
                    <a:pt x="29" y="399"/>
                  </a:lnTo>
                  <a:lnTo>
                    <a:pt x="21" y="399"/>
                  </a:lnTo>
                  <a:lnTo>
                    <a:pt x="14" y="407"/>
                  </a:lnTo>
                  <a:lnTo>
                    <a:pt x="11" y="402"/>
                  </a:lnTo>
                  <a:lnTo>
                    <a:pt x="6" y="406"/>
                  </a:lnTo>
                  <a:lnTo>
                    <a:pt x="2" y="402"/>
                  </a:lnTo>
                  <a:lnTo>
                    <a:pt x="3" y="399"/>
                  </a:lnTo>
                  <a:lnTo>
                    <a:pt x="0" y="398"/>
                  </a:lnTo>
                  <a:lnTo>
                    <a:pt x="0" y="388"/>
                  </a:lnTo>
                  <a:lnTo>
                    <a:pt x="19" y="335"/>
                  </a:lnTo>
                  <a:lnTo>
                    <a:pt x="22" y="320"/>
                  </a:lnTo>
                  <a:lnTo>
                    <a:pt x="21" y="312"/>
                  </a:lnTo>
                  <a:lnTo>
                    <a:pt x="29" y="312"/>
                  </a:lnTo>
                  <a:lnTo>
                    <a:pt x="35" y="305"/>
                  </a:lnTo>
                  <a:lnTo>
                    <a:pt x="48" y="302"/>
                  </a:lnTo>
                  <a:lnTo>
                    <a:pt x="61" y="292"/>
                  </a:lnTo>
                  <a:lnTo>
                    <a:pt x="73" y="278"/>
                  </a:lnTo>
                  <a:lnTo>
                    <a:pt x="88" y="268"/>
                  </a:lnTo>
                  <a:lnTo>
                    <a:pt x="96" y="267"/>
                  </a:lnTo>
                  <a:lnTo>
                    <a:pt x="118" y="267"/>
                  </a:lnTo>
                  <a:lnTo>
                    <a:pt x="140" y="254"/>
                  </a:lnTo>
                  <a:lnTo>
                    <a:pt x="235" y="249"/>
                  </a:lnTo>
                  <a:lnTo>
                    <a:pt x="244" y="243"/>
                  </a:lnTo>
                  <a:lnTo>
                    <a:pt x="260" y="243"/>
                  </a:lnTo>
                  <a:lnTo>
                    <a:pt x="289" y="238"/>
                  </a:lnTo>
                  <a:lnTo>
                    <a:pt x="340" y="238"/>
                  </a:lnTo>
                  <a:lnTo>
                    <a:pt x="341" y="224"/>
                  </a:lnTo>
                  <a:lnTo>
                    <a:pt x="354" y="187"/>
                  </a:lnTo>
                  <a:lnTo>
                    <a:pt x="361" y="176"/>
                  </a:lnTo>
                  <a:lnTo>
                    <a:pt x="386" y="154"/>
                  </a:lnTo>
                  <a:lnTo>
                    <a:pt x="372" y="111"/>
                  </a:lnTo>
                  <a:lnTo>
                    <a:pt x="377" y="95"/>
                  </a:lnTo>
                  <a:lnTo>
                    <a:pt x="386" y="80"/>
                  </a:lnTo>
                  <a:lnTo>
                    <a:pt x="377" y="72"/>
                  </a:lnTo>
                  <a:lnTo>
                    <a:pt x="367" y="58"/>
                  </a:lnTo>
                  <a:lnTo>
                    <a:pt x="359" y="52"/>
                  </a:lnTo>
                  <a:lnTo>
                    <a:pt x="351" y="20"/>
                  </a:lnTo>
                  <a:lnTo>
                    <a:pt x="361" y="8"/>
                  </a:lnTo>
                  <a:lnTo>
                    <a:pt x="365" y="5"/>
                  </a:lnTo>
                  <a:lnTo>
                    <a:pt x="372" y="8"/>
                  </a:lnTo>
                  <a:lnTo>
                    <a:pt x="386" y="5"/>
                  </a:lnTo>
                  <a:lnTo>
                    <a:pt x="440" y="23"/>
                  </a:lnTo>
                  <a:lnTo>
                    <a:pt x="452" y="29"/>
                  </a:lnTo>
                  <a:lnTo>
                    <a:pt x="460" y="29"/>
                  </a:lnTo>
                  <a:lnTo>
                    <a:pt x="490" y="10"/>
                  </a:lnTo>
                  <a:lnTo>
                    <a:pt x="511" y="5"/>
                  </a:lnTo>
                  <a:lnTo>
                    <a:pt x="514" y="0"/>
                  </a:lnTo>
                  <a:lnTo>
                    <a:pt x="546" y="47"/>
                  </a:lnTo>
                  <a:lnTo>
                    <a:pt x="547" y="58"/>
                  </a:lnTo>
                  <a:lnTo>
                    <a:pt x="555" y="59"/>
                  </a:lnTo>
                  <a:lnTo>
                    <a:pt x="560" y="67"/>
                  </a:lnTo>
                  <a:lnTo>
                    <a:pt x="573" y="75"/>
                  </a:lnTo>
                  <a:lnTo>
                    <a:pt x="589" y="7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/>
            <a:lstStyle/>
            <a:p>
              <a:pPr algn="ctr"/>
              <a:endParaRPr lang="en-US" sz="800" dirty="0"/>
            </a:p>
          </p:txBody>
        </p:sp>
        <p:sp>
          <p:nvSpPr>
            <p:cNvPr id="23" name="Freeform 207">
              <a:extLst>
                <a:ext uri="{FF2B5EF4-FFF2-40B4-BE49-F238E27FC236}">
                  <a16:creationId xmlns:a16="http://schemas.microsoft.com/office/drawing/2014/main" id="{579A6B55-9297-4101-A3C7-D6EEA5AABB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86250" y="5311775"/>
              <a:ext cx="622300" cy="127000"/>
            </a:xfrm>
            <a:custGeom>
              <a:avLst/>
              <a:gdLst>
                <a:gd name="T0" fmla="*/ 380 w 392"/>
                <a:gd name="T1" fmla="*/ 67 h 80"/>
                <a:gd name="T2" fmla="*/ 380 w 392"/>
                <a:gd name="T3" fmla="*/ 64 h 80"/>
                <a:gd name="T4" fmla="*/ 361 w 392"/>
                <a:gd name="T5" fmla="*/ 66 h 80"/>
                <a:gd name="T6" fmla="*/ 364 w 392"/>
                <a:gd name="T7" fmla="*/ 59 h 80"/>
                <a:gd name="T8" fmla="*/ 104 w 392"/>
                <a:gd name="T9" fmla="*/ 67 h 80"/>
                <a:gd name="T10" fmla="*/ 110 w 392"/>
                <a:gd name="T11" fmla="*/ 69 h 80"/>
                <a:gd name="T12" fmla="*/ 120 w 392"/>
                <a:gd name="T13" fmla="*/ 69 h 80"/>
                <a:gd name="T14" fmla="*/ 147 w 392"/>
                <a:gd name="T15" fmla="*/ 67 h 80"/>
                <a:gd name="T16" fmla="*/ 150 w 392"/>
                <a:gd name="T17" fmla="*/ 69 h 80"/>
                <a:gd name="T18" fmla="*/ 156 w 392"/>
                <a:gd name="T19" fmla="*/ 67 h 80"/>
                <a:gd name="T20" fmla="*/ 145 w 392"/>
                <a:gd name="T21" fmla="*/ 69 h 80"/>
                <a:gd name="T22" fmla="*/ 0 w 392"/>
                <a:gd name="T23" fmla="*/ 77 h 80"/>
                <a:gd name="T24" fmla="*/ 22 w 392"/>
                <a:gd name="T25" fmla="*/ 58 h 80"/>
                <a:gd name="T26" fmla="*/ 80 w 392"/>
                <a:gd name="T27" fmla="*/ 67 h 80"/>
                <a:gd name="T28" fmla="*/ 97 w 392"/>
                <a:gd name="T29" fmla="*/ 69 h 80"/>
                <a:gd name="T30" fmla="*/ 286 w 392"/>
                <a:gd name="T31" fmla="*/ 29 h 80"/>
                <a:gd name="T32" fmla="*/ 319 w 392"/>
                <a:gd name="T33" fmla="*/ 36 h 80"/>
                <a:gd name="T34" fmla="*/ 313 w 392"/>
                <a:gd name="T35" fmla="*/ 47 h 80"/>
                <a:gd name="T36" fmla="*/ 278 w 392"/>
                <a:gd name="T37" fmla="*/ 44 h 80"/>
                <a:gd name="T38" fmla="*/ 305 w 392"/>
                <a:gd name="T39" fmla="*/ 53 h 80"/>
                <a:gd name="T40" fmla="*/ 319 w 392"/>
                <a:gd name="T41" fmla="*/ 59 h 80"/>
                <a:gd name="T42" fmla="*/ 340 w 392"/>
                <a:gd name="T43" fmla="*/ 66 h 80"/>
                <a:gd name="T44" fmla="*/ 381 w 392"/>
                <a:gd name="T45" fmla="*/ 69 h 80"/>
                <a:gd name="T46" fmla="*/ 276 w 392"/>
                <a:gd name="T47" fmla="*/ 61 h 80"/>
                <a:gd name="T48" fmla="*/ 163 w 392"/>
                <a:gd name="T49" fmla="*/ 61 h 80"/>
                <a:gd name="T50" fmla="*/ 177 w 392"/>
                <a:gd name="T51" fmla="*/ 59 h 80"/>
                <a:gd name="T52" fmla="*/ 188 w 392"/>
                <a:gd name="T53" fmla="*/ 55 h 80"/>
                <a:gd name="T54" fmla="*/ 198 w 392"/>
                <a:gd name="T55" fmla="*/ 55 h 80"/>
                <a:gd name="T56" fmla="*/ 209 w 392"/>
                <a:gd name="T57" fmla="*/ 44 h 80"/>
                <a:gd name="T58" fmla="*/ 225 w 392"/>
                <a:gd name="T59" fmla="*/ 44 h 80"/>
                <a:gd name="T60" fmla="*/ 246 w 392"/>
                <a:gd name="T61" fmla="*/ 26 h 80"/>
                <a:gd name="T62" fmla="*/ 166 w 392"/>
                <a:gd name="T63" fmla="*/ 16 h 80"/>
                <a:gd name="T64" fmla="*/ 215 w 392"/>
                <a:gd name="T65" fmla="*/ 7 h 80"/>
                <a:gd name="T66" fmla="*/ 305 w 392"/>
                <a:gd name="T67" fmla="*/ 0 h 80"/>
                <a:gd name="T68" fmla="*/ 349 w 392"/>
                <a:gd name="T69" fmla="*/ 28 h 80"/>
                <a:gd name="T70" fmla="*/ 327 w 392"/>
                <a:gd name="T71" fmla="*/ 36 h 80"/>
                <a:gd name="T72" fmla="*/ 308 w 392"/>
                <a:gd name="T73" fmla="*/ 32 h 80"/>
                <a:gd name="T74" fmla="*/ 281 w 392"/>
                <a:gd name="T75" fmla="*/ 21 h 80"/>
                <a:gd name="T76" fmla="*/ 236 w 392"/>
                <a:gd name="T77" fmla="*/ 18 h 80"/>
                <a:gd name="T78" fmla="*/ 198 w 392"/>
                <a:gd name="T79" fmla="*/ 39 h 80"/>
                <a:gd name="T80" fmla="*/ 177 w 392"/>
                <a:gd name="T81" fmla="*/ 34 h 80"/>
                <a:gd name="T82" fmla="*/ 175 w 392"/>
                <a:gd name="T83" fmla="*/ 26 h 80"/>
                <a:gd name="T84" fmla="*/ 163 w 392"/>
                <a:gd name="T85" fmla="*/ 32 h 80"/>
                <a:gd name="T86" fmla="*/ 159 w 392"/>
                <a:gd name="T87" fmla="*/ 63 h 80"/>
                <a:gd name="T88" fmla="*/ 134 w 392"/>
                <a:gd name="T89" fmla="*/ 61 h 80"/>
                <a:gd name="T90" fmla="*/ 115 w 392"/>
                <a:gd name="T91" fmla="*/ 58 h 80"/>
                <a:gd name="T92" fmla="*/ 102 w 392"/>
                <a:gd name="T93" fmla="*/ 66 h 80"/>
                <a:gd name="T94" fmla="*/ 81 w 392"/>
                <a:gd name="T95" fmla="*/ 67 h 80"/>
                <a:gd name="T96" fmla="*/ 33 w 392"/>
                <a:gd name="T97" fmla="*/ 63 h 80"/>
                <a:gd name="T98" fmla="*/ 45 w 392"/>
                <a:gd name="T99" fmla="*/ 50 h 80"/>
                <a:gd name="T100" fmla="*/ 92 w 392"/>
                <a:gd name="T101" fmla="*/ 47 h 80"/>
                <a:gd name="T102" fmla="*/ 116 w 392"/>
                <a:gd name="T103" fmla="*/ 37 h 80"/>
                <a:gd name="T104" fmla="*/ 124 w 392"/>
                <a:gd name="T105" fmla="*/ 8 h 80"/>
                <a:gd name="T106" fmla="*/ 166 w 392"/>
                <a:gd name="T107" fmla="*/ 16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92" h="80">
                  <a:moveTo>
                    <a:pt x="380" y="66"/>
                  </a:moveTo>
                  <a:lnTo>
                    <a:pt x="381" y="67"/>
                  </a:lnTo>
                  <a:lnTo>
                    <a:pt x="380" y="67"/>
                  </a:lnTo>
                  <a:lnTo>
                    <a:pt x="380" y="66"/>
                  </a:lnTo>
                  <a:close/>
                  <a:moveTo>
                    <a:pt x="364" y="59"/>
                  </a:moveTo>
                  <a:lnTo>
                    <a:pt x="380" y="64"/>
                  </a:lnTo>
                  <a:lnTo>
                    <a:pt x="370" y="64"/>
                  </a:lnTo>
                  <a:lnTo>
                    <a:pt x="367" y="69"/>
                  </a:lnTo>
                  <a:lnTo>
                    <a:pt x="361" y="66"/>
                  </a:lnTo>
                  <a:lnTo>
                    <a:pt x="353" y="66"/>
                  </a:lnTo>
                  <a:lnTo>
                    <a:pt x="354" y="59"/>
                  </a:lnTo>
                  <a:lnTo>
                    <a:pt x="364" y="59"/>
                  </a:lnTo>
                  <a:close/>
                  <a:moveTo>
                    <a:pt x="97" y="69"/>
                  </a:moveTo>
                  <a:lnTo>
                    <a:pt x="94" y="69"/>
                  </a:lnTo>
                  <a:lnTo>
                    <a:pt x="104" y="67"/>
                  </a:lnTo>
                  <a:lnTo>
                    <a:pt x="108" y="69"/>
                  </a:lnTo>
                  <a:lnTo>
                    <a:pt x="110" y="67"/>
                  </a:lnTo>
                  <a:lnTo>
                    <a:pt x="110" y="69"/>
                  </a:lnTo>
                  <a:lnTo>
                    <a:pt x="116" y="67"/>
                  </a:lnTo>
                  <a:lnTo>
                    <a:pt x="115" y="69"/>
                  </a:lnTo>
                  <a:lnTo>
                    <a:pt x="120" y="69"/>
                  </a:lnTo>
                  <a:lnTo>
                    <a:pt x="123" y="67"/>
                  </a:lnTo>
                  <a:lnTo>
                    <a:pt x="126" y="69"/>
                  </a:lnTo>
                  <a:lnTo>
                    <a:pt x="147" y="67"/>
                  </a:lnTo>
                  <a:lnTo>
                    <a:pt x="153" y="71"/>
                  </a:lnTo>
                  <a:lnTo>
                    <a:pt x="155" y="69"/>
                  </a:lnTo>
                  <a:lnTo>
                    <a:pt x="150" y="69"/>
                  </a:lnTo>
                  <a:lnTo>
                    <a:pt x="156" y="66"/>
                  </a:lnTo>
                  <a:lnTo>
                    <a:pt x="159" y="63"/>
                  </a:lnTo>
                  <a:lnTo>
                    <a:pt x="156" y="67"/>
                  </a:lnTo>
                  <a:lnTo>
                    <a:pt x="161" y="64"/>
                  </a:lnTo>
                  <a:lnTo>
                    <a:pt x="161" y="72"/>
                  </a:lnTo>
                  <a:lnTo>
                    <a:pt x="145" y="69"/>
                  </a:lnTo>
                  <a:lnTo>
                    <a:pt x="115" y="69"/>
                  </a:lnTo>
                  <a:lnTo>
                    <a:pt x="30" y="72"/>
                  </a:lnTo>
                  <a:lnTo>
                    <a:pt x="0" y="77"/>
                  </a:lnTo>
                  <a:lnTo>
                    <a:pt x="1" y="58"/>
                  </a:lnTo>
                  <a:lnTo>
                    <a:pt x="9" y="61"/>
                  </a:lnTo>
                  <a:lnTo>
                    <a:pt x="22" y="58"/>
                  </a:lnTo>
                  <a:lnTo>
                    <a:pt x="40" y="69"/>
                  </a:lnTo>
                  <a:lnTo>
                    <a:pt x="51" y="71"/>
                  </a:lnTo>
                  <a:lnTo>
                    <a:pt x="80" y="67"/>
                  </a:lnTo>
                  <a:lnTo>
                    <a:pt x="89" y="69"/>
                  </a:lnTo>
                  <a:lnTo>
                    <a:pt x="96" y="67"/>
                  </a:lnTo>
                  <a:lnTo>
                    <a:pt x="97" y="69"/>
                  </a:lnTo>
                  <a:close/>
                  <a:moveTo>
                    <a:pt x="273" y="21"/>
                  </a:moveTo>
                  <a:lnTo>
                    <a:pt x="281" y="23"/>
                  </a:lnTo>
                  <a:lnTo>
                    <a:pt x="286" y="29"/>
                  </a:lnTo>
                  <a:lnTo>
                    <a:pt x="301" y="31"/>
                  </a:lnTo>
                  <a:lnTo>
                    <a:pt x="309" y="37"/>
                  </a:lnTo>
                  <a:lnTo>
                    <a:pt x="319" y="36"/>
                  </a:lnTo>
                  <a:lnTo>
                    <a:pt x="324" y="44"/>
                  </a:lnTo>
                  <a:lnTo>
                    <a:pt x="322" y="50"/>
                  </a:lnTo>
                  <a:lnTo>
                    <a:pt x="313" y="47"/>
                  </a:lnTo>
                  <a:lnTo>
                    <a:pt x="306" y="48"/>
                  </a:lnTo>
                  <a:lnTo>
                    <a:pt x="293" y="42"/>
                  </a:lnTo>
                  <a:lnTo>
                    <a:pt x="278" y="44"/>
                  </a:lnTo>
                  <a:lnTo>
                    <a:pt x="279" y="47"/>
                  </a:lnTo>
                  <a:lnTo>
                    <a:pt x="301" y="50"/>
                  </a:lnTo>
                  <a:lnTo>
                    <a:pt x="305" y="53"/>
                  </a:lnTo>
                  <a:lnTo>
                    <a:pt x="311" y="55"/>
                  </a:lnTo>
                  <a:lnTo>
                    <a:pt x="317" y="61"/>
                  </a:lnTo>
                  <a:lnTo>
                    <a:pt x="319" y="59"/>
                  </a:lnTo>
                  <a:lnTo>
                    <a:pt x="325" y="66"/>
                  </a:lnTo>
                  <a:lnTo>
                    <a:pt x="335" y="63"/>
                  </a:lnTo>
                  <a:lnTo>
                    <a:pt x="340" y="66"/>
                  </a:lnTo>
                  <a:lnTo>
                    <a:pt x="361" y="67"/>
                  </a:lnTo>
                  <a:lnTo>
                    <a:pt x="365" y="71"/>
                  </a:lnTo>
                  <a:lnTo>
                    <a:pt x="381" y="69"/>
                  </a:lnTo>
                  <a:lnTo>
                    <a:pt x="391" y="75"/>
                  </a:lnTo>
                  <a:lnTo>
                    <a:pt x="392" y="80"/>
                  </a:lnTo>
                  <a:lnTo>
                    <a:pt x="276" y="61"/>
                  </a:lnTo>
                  <a:lnTo>
                    <a:pt x="164" y="66"/>
                  </a:lnTo>
                  <a:lnTo>
                    <a:pt x="163" y="72"/>
                  </a:lnTo>
                  <a:lnTo>
                    <a:pt x="163" y="61"/>
                  </a:lnTo>
                  <a:lnTo>
                    <a:pt x="172" y="63"/>
                  </a:lnTo>
                  <a:lnTo>
                    <a:pt x="174" y="59"/>
                  </a:lnTo>
                  <a:lnTo>
                    <a:pt x="177" y="59"/>
                  </a:lnTo>
                  <a:lnTo>
                    <a:pt x="177" y="56"/>
                  </a:lnTo>
                  <a:lnTo>
                    <a:pt x="182" y="59"/>
                  </a:lnTo>
                  <a:lnTo>
                    <a:pt x="188" y="55"/>
                  </a:lnTo>
                  <a:lnTo>
                    <a:pt x="193" y="56"/>
                  </a:lnTo>
                  <a:lnTo>
                    <a:pt x="193" y="56"/>
                  </a:lnTo>
                  <a:lnTo>
                    <a:pt x="198" y="55"/>
                  </a:lnTo>
                  <a:lnTo>
                    <a:pt x="204" y="50"/>
                  </a:lnTo>
                  <a:lnTo>
                    <a:pt x="203" y="45"/>
                  </a:lnTo>
                  <a:lnTo>
                    <a:pt x="209" y="44"/>
                  </a:lnTo>
                  <a:lnTo>
                    <a:pt x="215" y="47"/>
                  </a:lnTo>
                  <a:lnTo>
                    <a:pt x="214" y="45"/>
                  </a:lnTo>
                  <a:lnTo>
                    <a:pt x="225" y="44"/>
                  </a:lnTo>
                  <a:lnTo>
                    <a:pt x="230" y="39"/>
                  </a:lnTo>
                  <a:lnTo>
                    <a:pt x="239" y="39"/>
                  </a:lnTo>
                  <a:lnTo>
                    <a:pt x="246" y="26"/>
                  </a:lnTo>
                  <a:lnTo>
                    <a:pt x="268" y="23"/>
                  </a:lnTo>
                  <a:lnTo>
                    <a:pt x="273" y="21"/>
                  </a:lnTo>
                  <a:close/>
                  <a:moveTo>
                    <a:pt x="166" y="16"/>
                  </a:moveTo>
                  <a:lnTo>
                    <a:pt x="179" y="18"/>
                  </a:lnTo>
                  <a:lnTo>
                    <a:pt x="190" y="7"/>
                  </a:lnTo>
                  <a:lnTo>
                    <a:pt x="215" y="7"/>
                  </a:lnTo>
                  <a:lnTo>
                    <a:pt x="220" y="5"/>
                  </a:lnTo>
                  <a:lnTo>
                    <a:pt x="252" y="8"/>
                  </a:lnTo>
                  <a:lnTo>
                    <a:pt x="305" y="0"/>
                  </a:lnTo>
                  <a:lnTo>
                    <a:pt x="343" y="7"/>
                  </a:lnTo>
                  <a:lnTo>
                    <a:pt x="351" y="16"/>
                  </a:lnTo>
                  <a:lnTo>
                    <a:pt x="349" y="28"/>
                  </a:lnTo>
                  <a:lnTo>
                    <a:pt x="340" y="26"/>
                  </a:lnTo>
                  <a:lnTo>
                    <a:pt x="329" y="32"/>
                  </a:lnTo>
                  <a:lnTo>
                    <a:pt x="327" y="36"/>
                  </a:lnTo>
                  <a:lnTo>
                    <a:pt x="322" y="36"/>
                  </a:lnTo>
                  <a:lnTo>
                    <a:pt x="322" y="32"/>
                  </a:lnTo>
                  <a:lnTo>
                    <a:pt x="308" y="32"/>
                  </a:lnTo>
                  <a:lnTo>
                    <a:pt x="305" y="29"/>
                  </a:lnTo>
                  <a:lnTo>
                    <a:pt x="289" y="29"/>
                  </a:lnTo>
                  <a:lnTo>
                    <a:pt x="281" y="21"/>
                  </a:lnTo>
                  <a:lnTo>
                    <a:pt x="258" y="18"/>
                  </a:lnTo>
                  <a:lnTo>
                    <a:pt x="242" y="21"/>
                  </a:lnTo>
                  <a:lnTo>
                    <a:pt x="236" y="18"/>
                  </a:lnTo>
                  <a:lnTo>
                    <a:pt x="217" y="34"/>
                  </a:lnTo>
                  <a:lnTo>
                    <a:pt x="206" y="32"/>
                  </a:lnTo>
                  <a:lnTo>
                    <a:pt x="198" y="39"/>
                  </a:lnTo>
                  <a:lnTo>
                    <a:pt x="191" y="40"/>
                  </a:lnTo>
                  <a:lnTo>
                    <a:pt x="183" y="39"/>
                  </a:lnTo>
                  <a:lnTo>
                    <a:pt x="177" y="34"/>
                  </a:lnTo>
                  <a:lnTo>
                    <a:pt x="182" y="24"/>
                  </a:lnTo>
                  <a:lnTo>
                    <a:pt x="177" y="21"/>
                  </a:lnTo>
                  <a:lnTo>
                    <a:pt x="175" y="26"/>
                  </a:lnTo>
                  <a:lnTo>
                    <a:pt x="169" y="29"/>
                  </a:lnTo>
                  <a:lnTo>
                    <a:pt x="169" y="32"/>
                  </a:lnTo>
                  <a:lnTo>
                    <a:pt x="163" y="32"/>
                  </a:lnTo>
                  <a:lnTo>
                    <a:pt x="161" y="50"/>
                  </a:lnTo>
                  <a:lnTo>
                    <a:pt x="155" y="55"/>
                  </a:lnTo>
                  <a:lnTo>
                    <a:pt x="159" y="63"/>
                  </a:lnTo>
                  <a:lnTo>
                    <a:pt x="139" y="61"/>
                  </a:lnTo>
                  <a:lnTo>
                    <a:pt x="134" y="64"/>
                  </a:lnTo>
                  <a:lnTo>
                    <a:pt x="134" y="61"/>
                  </a:lnTo>
                  <a:lnTo>
                    <a:pt x="134" y="64"/>
                  </a:lnTo>
                  <a:lnTo>
                    <a:pt x="124" y="64"/>
                  </a:lnTo>
                  <a:lnTo>
                    <a:pt x="115" y="58"/>
                  </a:lnTo>
                  <a:lnTo>
                    <a:pt x="118" y="63"/>
                  </a:lnTo>
                  <a:lnTo>
                    <a:pt x="107" y="61"/>
                  </a:lnTo>
                  <a:lnTo>
                    <a:pt x="102" y="66"/>
                  </a:lnTo>
                  <a:lnTo>
                    <a:pt x="94" y="64"/>
                  </a:lnTo>
                  <a:lnTo>
                    <a:pt x="91" y="69"/>
                  </a:lnTo>
                  <a:lnTo>
                    <a:pt x="81" y="67"/>
                  </a:lnTo>
                  <a:lnTo>
                    <a:pt x="64" y="69"/>
                  </a:lnTo>
                  <a:lnTo>
                    <a:pt x="40" y="67"/>
                  </a:lnTo>
                  <a:lnTo>
                    <a:pt x="33" y="63"/>
                  </a:lnTo>
                  <a:lnTo>
                    <a:pt x="37" y="55"/>
                  </a:lnTo>
                  <a:lnTo>
                    <a:pt x="43" y="55"/>
                  </a:lnTo>
                  <a:lnTo>
                    <a:pt x="45" y="50"/>
                  </a:lnTo>
                  <a:lnTo>
                    <a:pt x="54" y="50"/>
                  </a:lnTo>
                  <a:lnTo>
                    <a:pt x="70" y="53"/>
                  </a:lnTo>
                  <a:lnTo>
                    <a:pt x="92" y="47"/>
                  </a:lnTo>
                  <a:lnTo>
                    <a:pt x="107" y="45"/>
                  </a:lnTo>
                  <a:lnTo>
                    <a:pt x="115" y="40"/>
                  </a:lnTo>
                  <a:lnTo>
                    <a:pt x="116" y="37"/>
                  </a:lnTo>
                  <a:lnTo>
                    <a:pt x="113" y="29"/>
                  </a:lnTo>
                  <a:lnTo>
                    <a:pt x="123" y="21"/>
                  </a:lnTo>
                  <a:lnTo>
                    <a:pt x="124" y="8"/>
                  </a:lnTo>
                  <a:lnTo>
                    <a:pt x="129" y="0"/>
                  </a:lnTo>
                  <a:lnTo>
                    <a:pt x="139" y="8"/>
                  </a:lnTo>
                  <a:lnTo>
                    <a:pt x="166" y="1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/>
            <a:lstStyle/>
            <a:p>
              <a:pPr algn="ctr"/>
              <a:endParaRPr lang="en-US" sz="800" dirty="0"/>
            </a:p>
          </p:txBody>
        </p:sp>
        <p:sp>
          <p:nvSpPr>
            <p:cNvPr id="24" name="Freeform 208">
              <a:extLst>
                <a:ext uri="{FF2B5EF4-FFF2-40B4-BE49-F238E27FC236}">
                  <a16:creationId xmlns:a16="http://schemas.microsoft.com/office/drawing/2014/main" id="{FBF0ED39-576B-4FEA-A66B-91B68C64863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4150" y="4548188"/>
              <a:ext cx="960437" cy="809625"/>
            </a:xfrm>
            <a:custGeom>
              <a:avLst/>
              <a:gdLst>
                <a:gd name="T0" fmla="*/ 380 w 605"/>
                <a:gd name="T1" fmla="*/ 99 h 510"/>
                <a:gd name="T2" fmla="*/ 384 w 605"/>
                <a:gd name="T3" fmla="*/ 159 h 510"/>
                <a:gd name="T4" fmla="*/ 380 w 605"/>
                <a:gd name="T5" fmla="*/ 175 h 510"/>
                <a:gd name="T6" fmla="*/ 378 w 605"/>
                <a:gd name="T7" fmla="*/ 202 h 510"/>
                <a:gd name="T8" fmla="*/ 400 w 605"/>
                <a:gd name="T9" fmla="*/ 188 h 510"/>
                <a:gd name="T10" fmla="*/ 443 w 605"/>
                <a:gd name="T11" fmla="*/ 170 h 510"/>
                <a:gd name="T12" fmla="*/ 475 w 605"/>
                <a:gd name="T13" fmla="*/ 166 h 510"/>
                <a:gd name="T14" fmla="*/ 511 w 605"/>
                <a:gd name="T15" fmla="*/ 167 h 510"/>
                <a:gd name="T16" fmla="*/ 565 w 605"/>
                <a:gd name="T17" fmla="*/ 180 h 510"/>
                <a:gd name="T18" fmla="*/ 570 w 605"/>
                <a:gd name="T19" fmla="*/ 202 h 510"/>
                <a:gd name="T20" fmla="*/ 592 w 605"/>
                <a:gd name="T21" fmla="*/ 233 h 510"/>
                <a:gd name="T22" fmla="*/ 605 w 605"/>
                <a:gd name="T23" fmla="*/ 328 h 510"/>
                <a:gd name="T24" fmla="*/ 590 w 605"/>
                <a:gd name="T25" fmla="*/ 378 h 510"/>
                <a:gd name="T26" fmla="*/ 565 w 605"/>
                <a:gd name="T27" fmla="*/ 379 h 510"/>
                <a:gd name="T28" fmla="*/ 536 w 605"/>
                <a:gd name="T29" fmla="*/ 430 h 510"/>
                <a:gd name="T30" fmla="*/ 501 w 605"/>
                <a:gd name="T31" fmla="*/ 398 h 510"/>
                <a:gd name="T32" fmla="*/ 455 w 605"/>
                <a:gd name="T33" fmla="*/ 413 h 510"/>
                <a:gd name="T34" fmla="*/ 404 w 605"/>
                <a:gd name="T35" fmla="*/ 445 h 510"/>
                <a:gd name="T36" fmla="*/ 388 w 605"/>
                <a:gd name="T37" fmla="*/ 435 h 510"/>
                <a:gd name="T38" fmla="*/ 343 w 605"/>
                <a:gd name="T39" fmla="*/ 461 h 510"/>
                <a:gd name="T40" fmla="*/ 333 w 605"/>
                <a:gd name="T41" fmla="*/ 486 h 510"/>
                <a:gd name="T42" fmla="*/ 329 w 605"/>
                <a:gd name="T43" fmla="*/ 504 h 510"/>
                <a:gd name="T44" fmla="*/ 306 w 605"/>
                <a:gd name="T45" fmla="*/ 493 h 510"/>
                <a:gd name="T46" fmla="*/ 298 w 605"/>
                <a:gd name="T47" fmla="*/ 477 h 510"/>
                <a:gd name="T48" fmla="*/ 303 w 605"/>
                <a:gd name="T49" fmla="*/ 440 h 510"/>
                <a:gd name="T50" fmla="*/ 316 w 605"/>
                <a:gd name="T51" fmla="*/ 416 h 510"/>
                <a:gd name="T52" fmla="*/ 321 w 605"/>
                <a:gd name="T53" fmla="*/ 383 h 510"/>
                <a:gd name="T54" fmla="*/ 311 w 605"/>
                <a:gd name="T55" fmla="*/ 344 h 510"/>
                <a:gd name="T56" fmla="*/ 270 w 605"/>
                <a:gd name="T57" fmla="*/ 343 h 510"/>
                <a:gd name="T58" fmla="*/ 233 w 605"/>
                <a:gd name="T59" fmla="*/ 330 h 510"/>
                <a:gd name="T60" fmla="*/ 177 w 605"/>
                <a:gd name="T61" fmla="*/ 311 h 510"/>
                <a:gd name="T62" fmla="*/ 159 w 605"/>
                <a:gd name="T63" fmla="*/ 285 h 510"/>
                <a:gd name="T64" fmla="*/ 139 w 605"/>
                <a:gd name="T65" fmla="*/ 247 h 510"/>
                <a:gd name="T66" fmla="*/ 110 w 605"/>
                <a:gd name="T67" fmla="*/ 236 h 510"/>
                <a:gd name="T68" fmla="*/ 53 w 605"/>
                <a:gd name="T69" fmla="*/ 215 h 510"/>
                <a:gd name="T70" fmla="*/ 72 w 605"/>
                <a:gd name="T71" fmla="*/ 180 h 510"/>
                <a:gd name="T72" fmla="*/ 73 w 605"/>
                <a:gd name="T73" fmla="*/ 170 h 510"/>
                <a:gd name="T74" fmla="*/ 38 w 605"/>
                <a:gd name="T75" fmla="*/ 177 h 510"/>
                <a:gd name="T76" fmla="*/ 40 w 605"/>
                <a:gd name="T77" fmla="*/ 146 h 510"/>
                <a:gd name="T78" fmla="*/ 3 w 605"/>
                <a:gd name="T79" fmla="*/ 127 h 510"/>
                <a:gd name="T80" fmla="*/ 1 w 605"/>
                <a:gd name="T81" fmla="*/ 107 h 510"/>
                <a:gd name="T82" fmla="*/ 30 w 605"/>
                <a:gd name="T83" fmla="*/ 70 h 510"/>
                <a:gd name="T84" fmla="*/ 164 w 605"/>
                <a:gd name="T85" fmla="*/ 91 h 510"/>
                <a:gd name="T86" fmla="*/ 177 w 605"/>
                <a:gd name="T87" fmla="*/ 57 h 510"/>
                <a:gd name="T88" fmla="*/ 188 w 605"/>
                <a:gd name="T89" fmla="*/ 6 h 510"/>
                <a:gd name="T90" fmla="*/ 226 w 605"/>
                <a:gd name="T91" fmla="*/ 3 h 510"/>
                <a:gd name="T92" fmla="*/ 247 w 605"/>
                <a:gd name="T93" fmla="*/ 27 h 510"/>
                <a:gd name="T94" fmla="*/ 278 w 605"/>
                <a:gd name="T95" fmla="*/ 86 h 510"/>
                <a:gd name="T96" fmla="*/ 295 w 605"/>
                <a:gd name="T97" fmla="*/ 99 h 510"/>
                <a:gd name="T98" fmla="*/ 303 w 605"/>
                <a:gd name="T99" fmla="*/ 116 h 510"/>
                <a:gd name="T100" fmla="*/ 324 w 605"/>
                <a:gd name="T101" fmla="*/ 108 h 510"/>
                <a:gd name="T102" fmla="*/ 329 w 605"/>
                <a:gd name="T103" fmla="*/ 103 h 510"/>
                <a:gd name="T104" fmla="*/ 340 w 605"/>
                <a:gd name="T105" fmla="*/ 97 h 510"/>
                <a:gd name="T106" fmla="*/ 346 w 605"/>
                <a:gd name="T107" fmla="*/ 79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05" h="510">
                  <a:moveTo>
                    <a:pt x="348" y="78"/>
                  </a:moveTo>
                  <a:lnTo>
                    <a:pt x="386" y="76"/>
                  </a:lnTo>
                  <a:lnTo>
                    <a:pt x="380" y="99"/>
                  </a:lnTo>
                  <a:lnTo>
                    <a:pt x="386" y="132"/>
                  </a:lnTo>
                  <a:lnTo>
                    <a:pt x="383" y="146"/>
                  </a:lnTo>
                  <a:lnTo>
                    <a:pt x="384" y="159"/>
                  </a:lnTo>
                  <a:lnTo>
                    <a:pt x="380" y="167"/>
                  </a:lnTo>
                  <a:lnTo>
                    <a:pt x="383" y="174"/>
                  </a:lnTo>
                  <a:lnTo>
                    <a:pt x="380" y="175"/>
                  </a:lnTo>
                  <a:lnTo>
                    <a:pt x="383" y="180"/>
                  </a:lnTo>
                  <a:lnTo>
                    <a:pt x="380" y="182"/>
                  </a:lnTo>
                  <a:lnTo>
                    <a:pt x="378" y="202"/>
                  </a:lnTo>
                  <a:lnTo>
                    <a:pt x="391" y="197"/>
                  </a:lnTo>
                  <a:lnTo>
                    <a:pt x="392" y="193"/>
                  </a:lnTo>
                  <a:lnTo>
                    <a:pt x="400" y="188"/>
                  </a:lnTo>
                  <a:lnTo>
                    <a:pt x="405" y="188"/>
                  </a:lnTo>
                  <a:lnTo>
                    <a:pt x="418" y="185"/>
                  </a:lnTo>
                  <a:lnTo>
                    <a:pt x="443" y="170"/>
                  </a:lnTo>
                  <a:lnTo>
                    <a:pt x="447" y="172"/>
                  </a:lnTo>
                  <a:lnTo>
                    <a:pt x="469" y="166"/>
                  </a:lnTo>
                  <a:lnTo>
                    <a:pt x="475" y="166"/>
                  </a:lnTo>
                  <a:lnTo>
                    <a:pt x="479" y="162"/>
                  </a:lnTo>
                  <a:lnTo>
                    <a:pt x="504" y="162"/>
                  </a:lnTo>
                  <a:lnTo>
                    <a:pt x="511" y="167"/>
                  </a:lnTo>
                  <a:lnTo>
                    <a:pt x="522" y="166"/>
                  </a:lnTo>
                  <a:lnTo>
                    <a:pt x="565" y="174"/>
                  </a:lnTo>
                  <a:lnTo>
                    <a:pt x="565" y="180"/>
                  </a:lnTo>
                  <a:lnTo>
                    <a:pt x="558" y="183"/>
                  </a:lnTo>
                  <a:lnTo>
                    <a:pt x="560" y="196"/>
                  </a:lnTo>
                  <a:lnTo>
                    <a:pt x="570" y="202"/>
                  </a:lnTo>
                  <a:lnTo>
                    <a:pt x="574" y="213"/>
                  </a:lnTo>
                  <a:lnTo>
                    <a:pt x="589" y="221"/>
                  </a:lnTo>
                  <a:lnTo>
                    <a:pt x="592" y="233"/>
                  </a:lnTo>
                  <a:lnTo>
                    <a:pt x="584" y="277"/>
                  </a:lnTo>
                  <a:lnTo>
                    <a:pt x="597" y="298"/>
                  </a:lnTo>
                  <a:lnTo>
                    <a:pt x="605" y="328"/>
                  </a:lnTo>
                  <a:lnTo>
                    <a:pt x="600" y="349"/>
                  </a:lnTo>
                  <a:lnTo>
                    <a:pt x="593" y="360"/>
                  </a:lnTo>
                  <a:lnTo>
                    <a:pt x="590" y="378"/>
                  </a:lnTo>
                  <a:lnTo>
                    <a:pt x="587" y="379"/>
                  </a:lnTo>
                  <a:lnTo>
                    <a:pt x="576" y="381"/>
                  </a:lnTo>
                  <a:lnTo>
                    <a:pt x="565" y="379"/>
                  </a:lnTo>
                  <a:lnTo>
                    <a:pt x="554" y="403"/>
                  </a:lnTo>
                  <a:lnTo>
                    <a:pt x="538" y="422"/>
                  </a:lnTo>
                  <a:lnTo>
                    <a:pt x="536" y="430"/>
                  </a:lnTo>
                  <a:lnTo>
                    <a:pt x="530" y="432"/>
                  </a:lnTo>
                  <a:lnTo>
                    <a:pt x="520" y="427"/>
                  </a:lnTo>
                  <a:lnTo>
                    <a:pt x="501" y="398"/>
                  </a:lnTo>
                  <a:lnTo>
                    <a:pt x="490" y="394"/>
                  </a:lnTo>
                  <a:lnTo>
                    <a:pt x="480" y="397"/>
                  </a:lnTo>
                  <a:lnTo>
                    <a:pt x="455" y="413"/>
                  </a:lnTo>
                  <a:lnTo>
                    <a:pt x="447" y="424"/>
                  </a:lnTo>
                  <a:lnTo>
                    <a:pt x="437" y="430"/>
                  </a:lnTo>
                  <a:lnTo>
                    <a:pt x="404" y="445"/>
                  </a:lnTo>
                  <a:lnTo>
                    <a:pt x="391" y="448"/>
                  </a:lnTo>
                  <a:lnTo>
                    <a:pt x="386" y="446"/>
                  </a:lnTo>
                  <a:lnTo>
                    <a:pt x="388" y="435"/>
                  </a:lnTo>
                  <a:lnTo>
                    <a:pt x="381" y="427"/>
                  </a:lnTo>
                  <a:lnTo>
                    <a:pt x="362" y="451"/>
                  </a:lnTo>
                  <a:lnTo>
                    <a:pt x="343" y="461"/>
                  </a:lnTo>
                  <a:lnTo>
                    <a:pt x="345" y="462"/>
                  </a:lnTo>
                  <a:lnTo>
                    <a:pt x="341" y="475"/>
                  </a:lnTo>
                  <a:lnTo>
                    <a:pt x="333" y="486"/>
                  </a:lnTo>
                  <a:lnTo>
                    <a:pt x="332" y="491"/>
                  </a:lnTo>
                  <a:lnTo>
                    <a:pt x="332" y="494"/>
                  </a:lnTo>
                  <a:lnTo>
                    <a:pt x="329" y="504"/>
                  </a:lnTo>
                  <a:lnTo>
                    <a:pt x="319" y="509"/>
                  </a:lnTo>
                  <a:lnTo>
                    <a:pt x="308" y="510"/>
                  </a:lnTo>
                  <a:lnTo>
                    <a:pt x="306" y="493"/>
                  </a:lnTo>
                  <a:lnTo>
                    <a:pt x="301" y="488"/>
                  </a:lnTo>
                  <a:lnTo>
                    <a:pt x="301" y="480"/>
                  </a:lnTo>
                  <a:lnTo>
                    <a:pt x="298" y="477"/>
                  </a:lnTo>
                  <a:lnTo>
                    <a:pt x="301" y="464"/>
                  </a:lnTo>
                  <a:lnTo>
                    <a:pt x="297" y="454"/>
                  </a:lnTo>
                  <a:lnTo>
                    <a:pt x="303" y="440"/>
                  </a:lnTo>
                  <a:lnTo>
                    <a:pt x="309" y="435"/>
                  </a:lnTo>
                  <a:lnTo>
                    <a:pt x="316" y="421"/>
                  </a:lnTo>
                  <a:lnTo>
                    <a:pt x="316" y="416"/>
                  </a:lnTo>
                  <a:lnTo>
                    <a:pt x="311" y="410"/>
                  </a:lnTo>
                  <a:lnTo>
                    <a:pt x="313" y="394"/>
                  </a:lnTo>
                  <a:lnTo>
                    <a:pt x="321" y="383"/>
                  </a:lnTo>
                  <a:lnTo>
                    <a:pt x="316" y="365"/>
                  </a:lnTo>
                  <a:lnTo>
                    <a:pt x="317" y="357"/>
                  </a:lnTo>
                  <a:lnTo>
                    <a:pt x="311" y="344"/>
                  </a:lnTo>
                  <a:lnTo>
                    <a:pt x="301" y="344"/>
                  </a:lnTo>
                  <a:lnTo>
                    <a:pt x="282" y="357"/>
                  </a:lnTo>
                  <a:lnTo>
                    <a:pt x="270" y="343"/>
                  </a:lnTo>
                  <a:lnTo>
                    <a:pt x="246" y="346"/>
                  </a:lnTo>
                  <a:lnTo>
                    <a:pt x="244" y="341"/>
                  </a:lnTo>
                  <a:lnTo>
                    <a:pt x="233" y="330"/>
                  </a:lnTo>
                  <a:lnTo>
                    <a:pt x="214" y="338"/>
                  </a:lnTo>
                  <a:lnTo>
                    <a:pt x="195" y="338"/>
                  </a:lnTo>
                  <a:lnTo>
                    <a:pt x="177" y="311"/>
                  </a:lnTo>
                  <a:lnTo>
                    <a:pt x="179" y="288"/>
                  </a:lnTo>
                  <a:lnTo>
                    <a:pt x="174" y="284"/>
                  </a:lnTo>
                  <a:lnTo>
                    <a:pt x="159" y="285"/>
                  </a:lnTo>
                  <a:lnTo>
                    <a:pt x="155" y="279"/>
                  </a:lnTo>
                  <a:lnTo>
                    <a:pt x="143" y="276"/>
                  </a:lnTo>
                  <a:lnTo>
                    <a:pt x="139" y="247"/>
                  </a:lnTo>
                  <a:lnTo>
                    <a:pt x="134" y="236"/>
                  </a:lnTo>
                  <a:lnTo>
                    <a:pt x="112" y="233"/>
                  </a:lnTo>
                  <a:lnTo>
                    <a:pt x="110" y="236"/>
                  </a:lnTo>
                  <a:lnTo>
                    <a:pt x="102" y="236"/>
                  </a:lnTo>
                  <a:lnTo>
                    <a:pt x="67" y="223"/>
                  </a:lnTo>
                  <a:lnTo>
                    <a:pt x="53" y="215"/>
                  </a:lnTo>
                  <a:lnTo>
                    <a:pt x="60" y="193"/>
                  </a:lnTo>
                  <a:lnTo>
                    <a:pt x="73" y="190"/>
                  </a:lnTo>
                  <a:lnTo>
                    <a:pt x="72" y="180"/>
                  </a:lnTo>
                  <a:lnTo>
                    <a:pt x="76" y="175"/>
                  </a:lnTo>
                  <a:lnTo>
                    <a:pt x="75" y="170"/>
                  </a:lnTo>
                  <a:lnTo>
                    <a:pt x="73" y="170"/>
                  </a:lnTo>
                  <a:lnTo>
                    <a:pt x="76" y="166"/>
                  </a:lnTo>
                  <a:lnTo>
                    <a:pt x="73" y="159"/>
                  </a:lnTo>
                  <a:lnTo>
                    <a:pt x="38" y="177"/>
                  </a:lnTo>
                  <a:lnTo>
                    <a:pt x="46" y="158"/>
                  </a:lnTo>
                  <a:lnTo>
                    <a:pt x="45" y="150"/>
                  </a:lnTo>
                  <a:lnTo>
                    <a:pt x="40" y="146"/>
                  </a:lnTo>
                  <a:lnTo>
                    <a:pt x="24" y="148"/>
                  </a:lnTo>
                  <a:lnTo>
                    <a:pt x="22" y="137"/>
                  </a:lnTo>
                  <a:lnTo>
                    <a:pt x="3" y="127"/>
                  </a:lnTo>
                  <a:lnTo>
                    <a:pt x="0" y="123"/>
                  </a:lnTo>
                  <a:lnTo>
                    <a:pt x="0" y="116"/>
                  </a:lnTo>
                  <a:lnTo>
                    <a:pt x="1" y="107"/>
                  </a:lnTo>
                  <a:lnTo>
                    <a:pt x="16" y="92"/>
                  </a:lnTo>
                  <a:lnTo>
                    <a:pt x="22" y="91"/>
                  </a:lnTo>
                  <a:lnTo>
                    <a:pt x="30" y="70"/>
                  </a:lnTo>
                  <a:lnTo>
                    <a:pt x="37" y="65"/>
                  </a:lnTo>
                  <a:lnTo>
                    <a:pt x="94" y="92"/>
                  </a:lnTo>
                  <a:lnTo>
                    <a:pt x="164" y="91"/>
                  </a:lnTo>
                  <a:lnTo>
                    <a:pt x="169" y="89"/>
                  </a:lnTo>
                  <a:lnTo>
                    <a:pt x="175" y="86"/>
                  </a:lnTo>
                  <a:lnTo>
                    <a:pt x="177" y="57"/>
                  </a:lnTo>
                  <a:lnTo>
                    <a:pt x="188" y="40"/>
                  </a:lnTo>
                  <a:lnTo>
                    <a:pt x="190" y="33"/>
                  </a:lnTo>
                  <a:lnTo>
                    <a:pt x="188" y="6"/>
                  </a:lnTo>
                  <a:lnTo>
                    <a:pt x="198" y="1"/>
                  </a:lnTo>
                  <a:lnTo>
                    <a:pt x="215" y="0"/>
                  </a:lnTo>
                  <a:lnTo>
                    <a:pt x="226" y="3"/>
                  </a:lnTo>
                  <a:lnTo>
                    <a:pt x="230" y="9"/>
                  </a:lnTo>
                  <a:lnTo>
                    <a:pt x="239" y="16"/>
                  </a:lnTo>
                  <a:lnTo>
                    <a:pt x="247" y="27"/>
                  </a:lnTo>
                  <a:lnTo>
                    <a:pt x="260" y="68"/>
                  </a:lnTo>
                  <a:lnTo>
                    <a:pt x="273" y="78"/>
                  </a:lnTo>
                  <a:lnTo>
                    <a:pt x="278" y="86"/>
                  </a:lnTo>
                  <a:lnTo>
                    <a:pt x="284" y="89"/>
                  </a:lnTo>
                  <a:lnTo>
                    <a:pt x="289" y="97"/>
                  </a:lnTo>
                  <a:lnTo>
                    <a:pt x="295" y="99"/>
                  </a:lnTo>
                  <a:lnTo>
                    <a:pt x="297" y="105"/>
                  </a:lnTo>
                  <a:lnTo>
                    <a:pt x="301" y="110"/>
                  </a:lnTo>
                  <a:lnTo>
                    <a:pt x="303" y="116"/>
                  </a:lnTo>
                  <a:lnTo>
                    <a:pt x="316" y="130"/>
                  </a:lnTo>
                  <a:lnTo>
                    <a:pt x="319" y="129"/>
                  </a:lnTo>
                  <a:lnTo>
                    <a:pt x="324" y="108"/>
                  </a:lnTo>
                  <a:lnTo>
                    <a:pt x="330" y="113"/>
                  </a:lnTo>
                  <a:lnTo>
                    <a:pt x="332" y="107"/>
                  </a:lnTo>
                  <a:lnTo>
                    <a:pt x="329" y="103"/>
                  </a:lnTo>
                  <a:lnTo>
                    <a:pt x="333" y="102"/>
                  </a:lnTo>
                  <a:lnTo>
                    <a:pt x="335" y="97"/>
                  </a:lnTo>
                  <a:lnTo>
                    <a:pt x="340" y="97"/>
                  </a:lnTo>
                  <a:lnTo>
                    <a:pt x="348" y="87"/>
                  </a:lnTo>
                  <a:lnTo>
                    <a:pt x="349" y="81"/>
                  </a:lnTo>
                  <a:lnTo>
                    <a:pt x="346" y="79"/>
                  </a:lnTo>
                  <a:lnTo>
                    <a:pt x="348" y="7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/>
            <a:lstStyle/>
            <a:p>
              <a:pPr algn="ctr"/>
              <a:endParaRPr lang="en-US" sz="800" dirty="0"/>
            </a:p>
          </p:txBody>
        </p:sp>
        <p:sp>
          <p:nvSpPr>
            <p:cNvPr id="25" name="Freeform 209">
              <a:extLst>
                <a:ext uri="{FF2B5EF4-FFF2-40B4-BE49-F238E27FC236}">
                  <a16:creationId xmlns:a16="http://schemas.microsoft.com/office/drawing/2014/main" id="{26FCE666-73D9-4AC6-9CFB-2764D4FFEB0D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2763" y="2792413"/>
              <a:ext cx="1054100" cy="1084262"/>
            </a:xfrm>
            <a:custGeom>
              <a:avLst/>
              <a:gdLst>
                <a:gd name="T0" fmla="*/ 641 w 664"/>
                <a:gd name="T1" fmla="*/ 137 h 683"/>
                <a:gd name="T2" fmla="*/ 664 w 664"/>
                <a:gd name="T3" fmla="*/ 172 h 683"/>
                <a:gd name="T4" fmla="*/ 616 w 664"/>
                <a:gd name="T5" fmla="*/ 236 h 683"/>
                <a:gd name="T6" fmla="*/ 608 w 664"/>
                <a:gd name="T7" fmla="*/ 343 h 683"/>
                <a:gd name="T8" fmla="*/ 605 w 664"/>
                <a:gd name="T9" fmla="*/ 380 h 683"/>
                <a:gd name="T10" fmla="*/ 595 w 664"/>
                <a:gd name="T11" fmla="*/ 416 h 683"/>
                <a:gd name="T12" fmla="*/ 616 w 664"/>
                <a:gd name="T13" fmla="*/ 453 h 683"/>
                <a:gd name="T14" fmla="*/ 579 w 664"/>
                <a:gd name="T15" fmla="*/ 509 h 683"/>
                <a:gd name="T16" fmla="*/ 576 w 664"/>
                <a:gd name="T17" fmla="*/ 550 h 683"/>
                <a:gd name="T18" fmla="*/ 544 w 664"/>
                <a:gd name="T19" fmla="*/ 581 h 683"/>
                <a:gd name="T20" fmla="*/ 479 w 664"/>
                <a:gd name="T21" fmla="*/ 629 h 683"/>
                <a:gd name="T22" fmla="*/ 491 w 664"/>
                <a:gd name="T23" fmla="*/ 662 h 683"/>
                <a:gd name="T24" fmla="*/ 466 w 664"/>
                <a:gd name="T25" fmla="*/ 680 h 683"/>
                <a:gd name="T26" fmla="*/ 435 w 664"/>
                <a:gd name="T27" fmla="*/ 643 h 683"/>
                <a:gd name="T28" fmla="*/ 439 w 664"/>
                <a:gd name="T29" fmla="*/ 603 h 683"/>
                <a:gd name="T30" fmla="*/ 439 w 664"/>
                <a:gd name="T31" fmla="*/ 584 h 683"/>
                <a:gd name="T32" fmla="*/ 432 w 664"/>
                <a:gd name="T33" fmla="*/ 574 h 683"/>
                <a:gd name="T34" fmla="*/ 427 w 664"/>
                <a:gd name="T35" fmla="*/ 570 h 683"/>
                <a:gd name="T36" fmla="*/ 421 w 664"/>
                <a:gd name="T37" fmla="*/ 560 h 683"/>
                <a:gd name="T38" fmla="*/ 400 w 664"/>
                <a:gd name="T39" fmla="*/ 547 h 683"/>
                <a:gd name="T40" fmla="*/ 367 w 664"/>
                <a:gd name="T41" fmla="*/ 515 h 683"/>
                <a:gd name="T42" fmla="*/ 322 w 664"/>
                <a:gd name="T43" fmla="*/ 490 h 683"/>
                <a:gd name="T44" fmla="*/ 303 w 664"/>
                <a:gd name="T45" fmla="*/ 493 h 683"/>
                <a:gd name="T46" fmla="*/ 306 w 664"/>
                <a:gd name="T47" fmla="*/ 471 h 683"/>
                <a:gd name="T48" fmla="*/ 292 w 664"/>
                <a:gd name="T49" fmla="*/ 385 h 683"/>
                <a:gd name="T50" fmla="*/ 270 w 664"/>
                <a:gd name="T51" fmla="*/ 302 h 683"/>
                <a:gd name="T52" fmla="*/ 254 w 664"/>
                <a:gd name="T53" fmla="*/ 219 h 683"/>
                <a:gd name="T54" fmla="*/ 214 w 664"/>
                <a:gd name="T55" fmla="*/ 140 h 683"/>
                <a:gd name="T56" fmla="*/ 169 w 664"/>
                <a:gd name="T57" fmla="*/ 118 h 683"/>
                <a:gd name="T58" fmla="*/ 70 w 664"/>
                <a:gd name="T59" fmla="*/ 113 h 683"/>
                <a:gd name="T60" fmla="*/ 6 w 664"/>
                <a:gd name="T61" fmla="*/ 139 h 683"/>
                <a:gd name="T62" fmla="*/ 19 w 664"/>
                <a:gd name="T63" fmla="*/ 118 h 683"/>
                <a:gd name="T64" fmla="*/ 60 w 664"/>
                <a:gd name="T65" fmla="*/ 69 h 683"/>
                <a:gd name="T66" fmla="*/ 190 w 664"/>
                <a:gd name="T67" fmla="*/ 22 h 683"/>
                <a:gd name="T68" fmla="*/ 246 w 664"/>
                <a:gd name="T69" fmla="*/ 2 h 683"/>
                <a:gd name="T70" fmla="*/ 367 w 664"/>
                <a:gd name="T71" fmla="*/ 0 h 683"/>
                <a:gd name="T72" fmla="*/ 472 w 664"/>
                <a:gd name="T73" fmla="*/ 19 h 683"/>
                <a:gd name="T74" fmla="*/ 582 w 664"/>
                <a:gd name="T75" fmla="*/ 64 h 683"/>
                <a:gd name="T76" fmla="*/ 593 w 664"/>
                <a:gd name="T77" fmla="*/ 66 h 683"/>
                <a:gd name="T78" fmla="*/ 601 w 664"/>
                <a:gd name="T79" fmla="*/ 66 h 683"/>
                <a:gd name="T80" fmla="*/ 616 w 664"/>
                <a:gd name="T81" fmla="*/ 72 h 683"/>
                <a:gd name="T82" fmla="*/ 624 w 664"/>
                <a:gd name="T83" fmla="*/ 69 h 683"/>
                <a:gd name="T84" fmla="*/ 632 w 664"/>
                <a:gd name="T85" fmla="*/ 73 h 683"/>
                <a:gd name="T86" fmla="*/ 646 w 664"/>
                <a:gd name="T87" fmla="*/ 73 h 6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64" h="683">
                  <a:moveTo>
                    <a:pt x="646" y="73"/>
                  </a:moveTo>
                  <a:lnTo>
                    <a:pt x="641" y="117"/>
                  </a:lnTo>
                  <a:lnTo>
                    <a:pt x="641" y="137"/>
                  </a:lnTo>
                  <a:lnTo>
                    <a:pt x="645" y="145"/>
                  </a:lnTo>
                  <a:lnTo>
                    <a:pt x="660" y="160"/>
                  </a:lnTo>
                  <a:lnTo>
                    <a:pt x="664" y="172"/>
                  </a:lnTo>
                  <a:lnTo>
                    <a:pt x="643" y="211"/>
                  </a:lnTo>
                  <a:lnTo>
                    <a:pt x="622" y="223"/>
                  </a:lnTo>
                  <a:lnTo>
                    <a:pt x="616" y="236"/>
                  </a:lnTo>
                  <a:lnTo>
                    <a:pt x="614" y="247"/>
                  </a:lnTo>
                  <a:lnTo>
                    <a:pt x="619" y="290"/>
                  </a:lnTo>
                  <a:lnTo>
                    <a:pt x="608" y="343"/>
                  </a:lnTo>
                  <a:lnTo>
                    <a:pt x="605" y="367"/>
                  </a:lnTo>
                  <a:lnTo>
                    <a:pt x="603" y="369"/>
                  </a:lnTo>
                  <a:lnTo>
                    <a:pt x="605" y="380"/>
                  </a:lnTo>
                  <a:lnTo>
                    <a:pt x="601" y="394"/>
                  </a:lnTo>
                  <a:lnTo>
                    <a:pt x="595" y="405"/>
                  </a:lnTo>
                  <a:lnTo>
                    <a:pt x="595" y="416"/>
                  </a:lnTo>
                  <a:lnTo>
                    <a:pt x="608" y="429"/>
                  </a:lnTo>
                  <a:lnTo>
                    <a:pt x="614" y="439"/>
                  </a:lnTo>
                  <a:lnTo>
                    <a:pt x="616" y="453"/>
                  </a:lnTo>
                  <a:lnTo>
                    <a:pt x="595" y="483"/>
                  </a:lnTo>
                  <a:lnTo>
                    <a:pt x="592" y="496"/>
                  </a:lnTo>
                  <a:lnTo>
                    <a:pt x="579" y="509"/>
                  </a:lnTo>
                  <a:lnTo>
                    <a:pt x="576" y="517"/>
                  </a:lnTo>
                  <a:lnTo>
                    <a:pt x="571" y="535"/>
                  </a:lnTo>
                  <a:lnTo>
                    <a:pt x="576" y="550"/>
                  </a:lnTo>
                  <a:lnTo>
                    <a:pt x="574" y="560"/>
                  </a:lnTo>
                  <a:lnTo>
                    <a:pt x="570" y="565"/>
                  </a:lnTo>
                  <a:lnTo>
                    <a:pt x="544" y="581"/>
                  </a:lnTo>
                  <a:lnTo>
                    <a:pt x="499" y="592"/>
                  </a:lnTo>
                  <a:lnTo>
                    <a:pt x="485" y="605"/>
                  </a:lnTo>
                  <a:lnTo>
                    <a:pt x="479" y="629"/>
                  </a:lnTo>
                  <a:lnTo>
                    <a:pt x="482" y="641"/>
                  </a:lnTo>
                  <a:lnTo>
                    <a:pt x="491" y="654"/>
                  </a:lnTo>
                  <a:lnTo>
                    <a:pt x="491" y="662"/>
                  </a:lnTo>
                  <a:lnTo>
                    <a:pt x="490" y="673"/>
                  </a:lnTo>
                  <a:lnTo>
                    <a:pt x="482" y="683"/>
                  </a:lnTo>
                  <a:lnTo>
                    <a:pt x="466" y="680"/>
                  </a:lnTo>
                  <a:lnTo>
                    <a:pt x="439" y="667"/>
                  </a:lnTo>
                  <a:lnTo>
                    <a:pt x="437" y="662"/>
                  </a:lnTo>
                  <a:lnTo>
                    <a:pt x="435" y="643"/>
                  </a:lnTo>
                  <a:lnTo>
                    <a:pt x="442" y="610"/>
                  </a:lnTo>
                  <a:lnTo>
                    <a:pt x="442" y="605"/>
                  </a:lnTo>
                  <a:lnTo>
                    <a:pt x="439" y="603"/>
                  </a:lnTo>
                  <a:lnTo>
                    <a:pt x="440" y="600"/>
                  </a:lnTo>
                  <a:lnTo>
                    <a:pt x="437" y="598"/>
                  </a:lnTo>
                  <a:lnTo>
                    <a:pt x="439" y="584"/>
                  </a:lnTo>
                  <a:lnTo>
                    <a:pt x="435" y="578"/>
                  </a:lnTo>
                  <a:lnTo>
                    <a:pt x="432" y="578"/>
                  </a:lnTo>
                  <a:lnTo>
                    <a:pt x="432" y="574"/>
                  </a:lnTo>
                  <a:lnTo>
                    <a:pt x="429" y="573"/>
                  </a:lnTo>
                  <a:lnTo>
                    <a:pt x="431" y="571"/>
                  </a:lnTo>
                  <a:lnTo>
                    <a:pt x="427" y="570"/>
                  </a:lnTo>
                  <a:lnTo>
                    <a:pt x="426" y="566"/>
                  </a:lnTo>
                  <a:lnTo>
                    <a:pt x="421" y="563"/>
                  </a:lnTo>
                  <a:lnTo>
                    <a:pt x="421" y="560"/>
                  </a:lnTo>
                  <a:lnTo>
                    <a:pt x="418" y="560"/>
                  </a:lnTo>
                  <a:lnTo>
                    <a:pt x="410" y="549"/>
                  </a:lnTo>
                  <a:lnTo>
                    <a:pt x="400" y="547"/>
                  </a:lnTo>
                  <a:lnTo>
                    <a:pt x="399" y="535"/>
                  </a:lnTo>
                  <a:lnTo>
                    <a:pt x="391" y="525"/>
                  </a:lnTo>
                  <a:lnTo>
                    <a:pt x="367" y="515"/>
                  </a:lnTo>
                  <a:lnTo>
                    <a:pt x="351" y="495"/>
                  </a:lnTo>
                  <a:lnTo>
                    <a:pt x="345" y="491"/>
                  </a:lnTo>
                  <a:lnTo>
                    <a:pt x="322" y="490"/>
                  </a:lnTo>
                  <a:lnTo>
                    <a:pt x="316" y="496"/>
                  </a:lnTo>
                  <a:lnTo>
                    <a:pt x="309" y="496"/>
                  </a:lnTo>
                  <a:lnTo>
                    <a:pt x="303" y="493"/>
                  </a:lnTo>
                  <a:lnTo>
                    <a:pt x="293" y="483"/>
                  </a:lnTo>
                  <a:lnTo>
                    <a:pt x="295" y="477"/>
                  </a:lnTo>
                  <a:lnTo>
                    <a:pt x="306" y="471"/>
                  </a:lnTo>
                  <a:lnTo>
                    <a:pt x="309" y="431"/>
                  </a:lnTo>
                  <a:lnTo>
                    <a:pt x="301" y="399"/>
                  </a:lnTo>
                  <a:lnTo>
                    <a:pt x="292" y="385"/>
                  </a:lnTo>
                  <a:lnTo>
                    <a:pt x="282" y="381"/>
                  </a:lnTo>
                  <a:lnTo>
                    <a:pt x="274" y="361"/>
                  </a:lnTo>
                  <a:lnTo>
                    <a:pt x="270" y="302"/>
                  </a:lnTo>
                  <a:lnTo>
                    <a:pt x="266" y="295"/>
                  </a:lnTo>
                  <a:lnTo>
                    <a:pt x="263" y="282"/>
                  </a:lnTo>
                  <a:lnTo>
                    <a:pt x="254" y="219"/>
                  </a:lnTo>
                  <a:lnTo>
                    <a:pt x="225" y="201"/>
                  </a:lnTo>
                  <a:lnTo>
                    <a:pt x="222" y="155"/>
                  </a:lnTo>
                  <a:lnTo>
                    <a:pt x="214" y="140"/>
                  </a:lnTo>
                  <a:lnTo>
                    <a:pt x="198" y="133"/>
                  </a:lnTo>
                  <a:lnTo>
                    <a:pt x="187" y="131"/>
                  </a:lnTo>
                  <a:lnTo>
                    <a:pt x="169" y="118"/>
                  </a:lnTo>
                  <a:lnTo>
                    <a:pt x="123" y="102"/>
                  </a:lnTo>
                  <a:lnTo>
                    <a:pt x="104" y="112"/>
                  </a:lnTo>
                  <a:lnTo>
                    <a:pt x="70" y="113"/>
                  </a:lnTo>
                  <a:lnTo>
                    <a:pt x="54" y="139"/>
                  </a:lnTo>
                  <a:lnTo>
                    <a:pt x="37" y="140"/>
                  </a:lnTo>
                  <a:lnTo>
                    <a:pt x="6" y="139"/>
                  </a:lnTo>
                  <a:lnTo>
                    <a:pt x="0" y="136"/>
                  </a:lnTo>
                  <a:lnTo>
                    <a:pt x="5" y="134"/>
                  </a:lnTo>
                  <a:lnTo>
                    <a:pt x="19" y="118"/>
                  </a:lnTo>
                  <a:lnTo>
                    <a:pt x="37" y="99"/>
                  </a:lnTo>
                  <a:lnTo>
                    <a:pt x="46" y="83"/>
                  </a:lnTo>
                  <a:lnTo>
                    <a:pt x="60" y="69"/>
                  </a:lnTo>
                  <a:lnTo>
                    <a:pt x="97" y="40"/>
                  </a:lnTo>
                  <a:lnTo>
                    <a:pt x="131" y="26"/>
                  </a:lnTo>
                  <a:lnTo>
                    <a:pt x="190" y="22"/>
                  </a:lnTo>
                  <a:lnTo>
                    <a:pt x="239" y="2"/>
                  </a:lnTo>
                  <a:lnTo>
                    <a:pt x="242" y="3"/>
                  </a:lnTo>
                  <a:lnTo>
                    <a:pt x="246" y="2"/>
                  </a:lnTo>
                  <a:lnTo>
                    <a:pt x="247" y="5"/>
                  </a:lnTo>
                  <a:lnTo>
                    <a:pt x="279" y="2"/>
                  </a:lnTo>
                  <a:lnTo>
                    <a:pt x="367" y="0"/>
                  </a:lnTo>
                  <a:lnTo>
                    <a:pt x="404" y="0"/>
                  </a:lnTo>
                  <a:lnTo>
                    <a:pt x="439" y="5"/>
                  </a:lnTo>
                  <a:lnTo>
                    <a:pt x="472" y="19"/>
                  </a:lnTo>
                  <a:lnTo>
                    <a:pt x="520" y="30"/>
                  </a:lnTo>
                  <a:lnTo>
                    <a:pt x="573" y="62"/>
                  </a:lnTo>
                  <a:lnTo>
                    <a:pt x="582" y="64"/>
                  </a:lnTo>
                  <a:lnTo>
                    <a:pt x="589" y="62"/>
                  </a:lnTo>
                  <a:lnTo>
                    <a:pt x="590" y="67"/>
                  </a:lnTo>
                  <a:lnTo>
                    <a:pt x="593" y="66"/>
                  </a:lnTo>
                  <a:lnTo>
                    <a:pt x="590" y="62"/>
                  </a:lnTo>
                  <a:lnTo>
                    <a:pt x="595" y="61"/>
                  </a:lnTo>
                  <a:lnTo>
                    <a:pt x="601" y="66"/>
                  </a:lnTo>
                  <a:lnTo>
                    <a:pt x="611" y="64"/>
                  </a:lnTo>
                  <a:lnTo>
                    <a:pt x="613" y="72"/>
                  </a:lnTo>
                  <a:lnTo>
                    <a:pt x="616" y="72"/>
                  </a:lnTo>
                  <a:lnTo>
                    <a:pt x="616" y="69"/>
                  </a:lnTo>
                  <a:lnTo>
                    <a:pt x="619" y="67"/>
                  </a:lnTo>
                  <a:lnTo>
                    <a:pt x="624" y="69"/>
                  </a:lnTo>
                  <a:lnTo>
                    <a:pt x="627" y="75"/>
                  </a:lnTo>
                  <a:lnTo>
                    <a:pt x="629" y="70"/>
                  </a:lnTo>
                  <a:lnTo>
                    <a:pt x="632" y="73"/>
                  </a:lnTo>
                  <a:lnTo>
                    <a:pt x="635" y="69"/>
                  </a:lnTo>
                  <a:lnTo>
                    <a:pt x="635" y="73"/>
                  </a:lnTo>
                  <a:lnTo>
                    <a:pt x="646" y="73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/>
            <a:lstStyle/>
            <a:p>
              <a:pPr algn="ctr"/>
              <a:endParaRPr lang="en-US" sz="800" dirty="0"/>
            </a:p>
          </p:txBody>
        </p:sp>
        <p:sp>
          <p:nvSpPr>
            <p:cNvPr id="26" name="Freeform 210">
              <a:extLst>
                <a:ext uri="{FF2B5EF4-FFF2-40B4-BE49-F238E27FC236}">
                  <a16:creationId xmlns:a16="http://schemas.microsoft.com/office/drawing/2014/main" id="{20655948-6F82-4B4D-9A74-6E7B1A9DD73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2488" y="5656263"/>
              <a:ext cx="336550" cy="355600"/>
            </a:xfrm>
            <a:custGeom>
              <a:avLst/>
              <a:gdLst>
                <a:gd name="T0" fmla="*/ 88 w 212"/>
                <a:gd name="T1" fmla="*/ 12 h 224"/>
                <a:gd name="T2" fmla="*/ 128 w 212"/>
                <a:gd name="T3" fmla="*/ 15 h 224"/>
                <a:gd name="T4" fmla="*/ 155 w 212"/>
                <a:gd name="T5" fmla="*/ 13 h 224"/>
                <a:gd name="T6" fmla="*/ 158 w 212"/>
                <a:gd name="T7" fmla="*/ 26 h 224"/>
                <a:gd name="T8" fmla="*/ 182 w 212"/>
                <a:gd name="T9" fmla="*/ 47 h 224"/>
                <a:gd name="T10" fmla="*/ 206 w 212"/>
                <a:gd name="T11" fmla="*/ 59 h 224"/>
                <a:gd name="T12" fmla="*/ 212 w 212"/>
                <a:gd name="T13" fmla="*/ 87 h 224"/>
                <a:gd name="T14" fmla="*/ 190 w 212"/>
                <a:gd name="T15" fmla="*/ 91 h 224"/>
                <a:gd name="T16" fmla="*/ 177 w 212"/>
                <a:gd name="T17" fmla="*/ 96 h 224"/>
                <a:gd name="T18" fmla="*/ 129 w 212"/>
                <a:gd name="T19" fmla="*/ 53 h 224"/>
                <a:gd name="T20" fmla="*/ 112 w 212"/>
                <a:gd name="T21" fmla="*/ 67 h 224"/>
                <a:gd name="T22" fmla="*/ 120 w 212"/>
                <a:gd name="T23" fmla="*/ 107 h 224"/>
                <a:gd name="T24" fmla="*/ 82 w 212"/>
                <a:gd name="T25" fmla="*/ 117 h 224"/>
                <a:gd name="T26" fmla="*/ 91 w 212"/>
                <a:gd name="T27" fmla="*/ 177 h 224"/>
                <a:gd name="T28" fmla="*/ 78 w 212"/>
                <a:gd name="T29" fmla="*/ 209 h 224"/>
                <a:gd name="T30" fmla="*/ 83 w 212"/>
                <a:gd name="T31" fmla="*/ 222 h 224"/>
                <a:gd name="T32" fmla="*/ 66 w 212"/>
                <a:gd name="T33" fmla="*/ 214 h 224"/>
                <a:gd name="T34" fmla="*/ 42 w 212"/>
                <a:gd name="T35" fmla="*/ 211 h 224"/>
                <a:gd name="T36" fmla="*/ 32 w 212"/>
                <a:gd name="T37" fmla="*/ 211 h 224"/>
                <a:gd name="T38" fmla="*/ 22 w 212"/>
                <a:gd name="T39" fmla="*/ 214 h 224"/>
                <a:gd name="T40" fmla="*/ 15 w 212"/>
                <a:gd name="T41" fmla="*/ 217 h 224"/>
                <a:gd name="T42" fmla="*/ 5 w 212"/>
                <a:gd name="T43" fmla="*/ 211 h 224"/>
                <a:gd name="T44" fmla="*/ 2 w 212"/>
                <a:gd name="T45" fmla="*/ 201 h 224"/>
                <a:gd name="T46" fmla="*/ 5 w 212"/>
                <a:gd name="T47" fmla="*/ 179 h 224"/>
                <a:gd name="T48" fmla="*/ 13 w 212"/>
                <a:gd name="T49" fmla="*/ 168 h 224"/>
                <a:gd name="T50" fmla="*/ 21 w 212"/>
                <a:gd name="T51" fmla="*/ 142 h 224"/>
                <a:gd name="T52" fmla="*/ 27 w 212"/>
                <a:gd name="T53" fmla="*/ 131 h 224"/>
                <a:gd name="T54" fmla="*/ 30 w 212"/>
                <a:gd name="T55" fmla="*/ 123 h 224"/>
                <a:gd name="T56" fmla="*/ 42 w 212"/>
                <a:gd name="T57" fmla="*/ 93 h 224"/>
                <a:gd name="T58" fmla="*/ 50 w 212"/>
                <a:gd name="T59" fmla="*/ 77 h 224"/>
                <a:gd name="T60" fmla="*/ 61 w 212"/>
                <a:gd name="T61" fmla="*/ 58 h 224"/>
                <a:gd name="T62" fmla="*/ 64 w 212"/>
                <a:gd name="T63" fmla="*/ 51 h 224"/>
                <a:gd name="T64" fmla="*/ 64 w 212"/>
                <a:gd name="T65" fmla="*/ 50 h 224"/>
                <a:gd name="T66" fmla="*/ 62 w 212"/>
                <a:gd name="T67" fmla="*/ 34 h 224"/>
                <a:gd name="T68" fmla="*/ 61 w 212"/>
                <a:gd name="T69" fmla="*/ 24 h 224"/>
                <a:gd name="T70" fmla="*/ 77 w 212"/>
                <a:gd name="T71" fmla="*/ 1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12" h="224">
                  <a:moveTo>
                    <a:pt x="83" y="10"/>
                  </a:moveTo>
                  <a:lnTo>
                    <a:pt x="88" y="12"/>
                  </a:lnTo>
                  <a:lnTo>
                    <a:pt x="94" y="10"/>
                  </a:lnTo>
                  <a:lnTo>
                    <a:pt x="128" y="15"/>
                  </a:lnTo>
                  <a:lnTo>
                    <a:pt x="145" y="12"/>
                  </a:lnTo>
                  <a:lnTo>
                    <a:pt x="155" y="13"/>
                  </a:lnTo>
                  <a:lnTo>
                    <a:pt x="158" y="10"/>
                  </a:lnTo>
                  <a:lnTo>
                    <a:pt x="158" y="26"/>
                  </a:lnTo>
                  <a:lnTo>
                    <a:pt x="180" y="28"/>
                  </a:lnTo>
                  <a:lnTo>
                    <a:pt x="182" y="47"/>
                  </a:lnTo>
                  <a:lnTo>
                    <a:pt x="193" y="50"/>
                  </a:lnTo>
                  <a:lnTo>
                    <a:pt x="206" y="59"/>
                  </a:lnTo>
                  <a:lnTo>
                    <a:pt x="203" y="74"/>
                  </a:lnTo>
                  <a:lnTo>
                    <a:pt x="212" y="87"/>
                  </a:lnTo>
                  <a:lnTo>
                    <a:pt x="208" y="96"/>
                  </a:lnTo>
                  <a:lnTo>
                    <a:pt x="190" y="91"/>
                  </a:lnTo>
                  <a:lnTo>
                    <a:pt x="184" y="96"/>
                  </a:lnTo>
                  <a:lnTo>
                    <a:pt x="177" y="96"/>
                  </a:lnTo>
                  <a:lnTo>
                    <a:pt x="136" y="56"/>
                  </a:lnTo>
                  <a:lnTo>
                    <a:pt x="129" y="53"/>
                  </a:lnTo>
                  <a:lnTo>
                    <a:pt x="121" y="56"/>
                  </a:lnTo>
                  <a:lnTo>
                    <a:pt x="112" y="67"/>
                  </a:lnTo>
                  <a:lnTo>
                    <a:pt x="128" y="101"/>
                  </a:lnTo>
                  <a:lnTo>
                    <a:pt x="120" y="107"/>
                  </a:lnTo>
                  <a:lnTo>
                    <a:pt x="83" y="115"/>
                  </a:lnTo>
                  <a:lnTo>
                    <a:pt x="82" y="117"/>
                  </a:lnTo>
                  <a:lnTo>
                    <a:pt x="91" y="158"/>
                  </a:lnTo>
                  <a:lnTo>
                    <a:pt x="91" y="177"/>
                  </a:lnTo>
                  <a:lnTo>
                    <a:pt x="78" y="198"/>
                  </a:lnTo>
                  <a:lnTo>
                    <a:pt x="78" y="209"/>
                  </a:lnTo>
                  <a:lnTo>
                    <a:pt x="83" y="216"/>
                  </a:lnTo>
                  <a:lnTo>
                    <a:pt x="83" y="222"/>
                  </a:lnTo>
                  <a:lnTo>
                    <a:pt x="82" y="224"/>
                  </a:lnTo>
                  <a:lnTo>
                    <a:pt x="66" y="214"/>
                  </a:lnTo>
                  <a:lnTo>
                    <a:pt x="53" y="216"/>
                  </a:lnTo>
                  <a:lnTo>
                    <a:pt x="42" y="211"/>
                  </a:lnTo>
                  <a:lnTo>
                    <a:pt x="37" y="214"/>
                  </a:lnTo>
                  <a:lnTo>
                    <a:pt x="32" y="211"/>
                  </a:lnTo>
                  <a:lnTo>
                    <a:pt x="26" y="217"/>
                  </a:lnTo>
                  <a:lnTo>
                    <a:pt x="22" y="214"/>
                  </a:lnTo>
                  <a:lnTo>
                    <a:pt x="19" y="217"/>
                  </a:lnTo>
                  <a:lnTo>
                    <a:pt x="15" y="217"/>
                  </a:lnTo>
                  <a:lnTo>
                    <a:pt x="7" y="211"/>
                  </a:lnTo>
                  <a:lnTo>
                    <a:pt x="5" y="211"/>
                  </a:lnTo>
                  <a:lnTo>
                    <a:pt x="0" y="208"/>
                  </a:lnTo>
                  <a:lnTo>
                    <a:pt x="2" y="201"/>
                  </a:lnTo>
                  <a:lnTo>
                    <a:pt x="5" y="198"/>
                  </a:lnTo>
                  <a:lnTo>
                    <a:pt x="5" y="179"/>
                  </a:lnTo>
                  <a:lnTo>
                    <a:pt x="10" y="176"/>
                  </a:lnTo>
                  <a:lnTo>
                    <a:pt x="13" y="168"/>
                  </a:lnTo>
                  <a:lnTo>
                    <a:pt x="16" y="150"/>
                  </a:lnTo>
                  <a:lnTo>
                    <a:pt x="21" y="142"/>
                  </a:lnTo>
                  <a:lnTo>
                    <a:pt x="22" y="136"/>
                  </a:lnTo>
                  <a:lnTo>
                    <a:pt x="27" y="131"/>
                  </a:lnTo>
                  <a:lnTo>
                    <a:pt x="29" y="125"/>
                  </a:lnTo>
                  <a:lnTo>
                    <a:pt x="30" y="123"/>
                  </a:lnTo>
                  <a:lnTo>
                    <a:pt x="34" y="106"/>
                  </a:lnTo>
                  <a:lnTo>
                    <a:pt x="42" y="93"/>
                  </a:lnTo>
                  <a:lnTo>
                    <a:pt x="40" y="88"/>
                  </a:lnTo>
                  <a:lnTo>
                    <a:pt x="50" y="77"/>
                  </a:lnTo>
                  <a:lnTo>
                    <a:pt x="56" y="64"/>
                  </a:lnTo>
                  <a:lnTo>
                    <a:pt x="61" y="58"/>
                  </a:lnTo>
                  <a:lnTo>
                    <a:pt x="61" y="55"/>
                  </a:lnTo>
                  <a:lnTo>
                    <a:pt x="64" y="51"/>
                  </a:lnTo>
                  <a:lnTo>
                    <a:pt x="61" y="50"/>
                  </a:lnTo>
                  <a:lnTo>
                    <a:pt x="64" y="50"/>
                  </a:lnTo>
                  <a:lnTo>
                    <a:pt x="67" y="39"/>
                  </a:lnTo>
                  <a:lnTo>
                    <a:pt x="62" y="34"/>
                  </a:lnTo>
                  <a:lnTo>
                    <a:pt x="64" y="28"/>
                  </a:lnTo>
                  <a:lnTo>
                    <a:pt x="61" y="24"/>
                  </a:lnTo>
                  <a:lnTo>
                    <a:pt x="70" y="0"/>
                  </a:lnTo>
                  <a:lnTo>
                    <a:pt x="77" y="10"/>
                  </a:lnTo>
                  <a:lnTo>
                    <a:pt x="83" y="1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/>
            <a:lstStyle/>
            <a:p>
              <a:pPr algn="ctr"/>
              <a:endParaRPr lang="en-US" sz="800" dirty="0"/>
            </a:p>
          </p:txBody>
        </p:sp>
        <p:sp>
          <p:nvSpPr>
            <p:cNvPr id="27" name="Freeform 211">
              <a:extLst>
                <a:ext uri="{FF2B5EF4-FFF2-40B4-BE49-F238E27FC236}">
                  <a16:creationId xmlns:a16="http://schemas.microsoft.com/office/drawing/2014/main" id="{6BBB0E67-EFF3-45F1-8F22-6E3825E736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9200" y="2660650"/>
              <a:ext cx="1160462" cy="1428750"/>
            </a:xfrm>
            <a:custGeom>
              <a:avLst/>
              <a:gdLst>
                <a:gd name="T0" fmla="*/ 619 w 731"/>
                <a:gd name="T1" fmla="*/ 294 h 900"/>
                <a:gd name="T2" fmla="*/ 618 w 731"/>
                <a:gd name="T3" fmla="*/ 311 h 900"/>
                <a:gd name="T4" fmla="*/ 642 w 731"/>
                <a:gd name="T5" fmla="*/ 329 h 900"/>
                <a:gd name="T6" fmla="*/ 673 w 731"/>
                <a:gd name="T7" fmla="*/ 326 h 900"/>
                <a:gd name="T8" fmla="*/ 685 w 731"/>
                <a:gd name="T9" fmla="*/ 332 h 900"/>
                <a:gd name="T10" fmla="*/ 702 w 731"/>
                <a:gd name="T11" fmla="*/ 351 h 900"/>
                <a:gd name="T12" fmla="*/ 715 w 731"/>
                <a:gd name="T13" fmla="*/ 370 h 900"/>
                <a:gd name="T14" fmla="*/ 731 w 731"/>
                <a:gd name="T15" fmla="*/ 375 h 900"/>
                <a:gd name="T16" fmla="*/ 720 w 731"/>
                <a:gd name="T17" fmla="*/ 401 h 900"/>
                <a:gd name="T18" fmla="*/ 723 w 731"/>
                <a:gd name="T19" fmla="*/ 436 h 900"/>
                <a:gd name="T20" fmla="*/ 701 w 731"/>
                <a:gd name="T21" fmla="*/ 480 h 900"/>
                <a:gd name="T22" fmla="*/ 725 w 731"/>
                <a:gd name="T23" fmla="*/ 504 h 900"/>
                <a:gd name="T24" fmla="*/ 672 w 731"/>
                <a:gd name="T25" fmla="*/ 552 h 900"/>
                <a:gd name="T26" fmla="*/ 567 w 731"/>
                <a:gd name="T27" fmla="*/ 578 h 900"/>
                <a:gd name="T28" fmla="*/ 544 w 731"/>
                <a:gd name="T29" fmla="*/ 621 h 900"/>
                <a:gd name="T30" fmla="*/ 525 w 731"/>
                <a:gd name="T31" fmla="*/ 646 h 900"/>
                <a:gd name="T32" fmla="*/ 504 w 731"/>
                <a:gd name="T33" fmla="*/ 661 h 900"/>
                <a:gd name="T34" fmla="*/ 431 w 731"/>
                <a:gd name="T35" fmla="*/ 680 h 900"/>
                <a:gd name="T36" fmla="*/ 412 w 731"/>
                <a:gd name="T37" fmla="*/ 716 h 900"/>
                <a:gd name="T38" fmla="*/ 399 w 731"/>
                <a:gd name="T39" fmla="*/ 742 h 900"/>
                <a:gd name="T40" fmla="*/ 369 w 731"/>
                <a:gd name="T41" fmla="*/ 783 h 900"/>
                <a:gd name="T42" fmla="*/ 324 w 731"/>
                <a:gd name="T43" fmla="*/ 758 h 900"/>
                <a:gd name="T44" fmla="*/ 278 w 731"/>
                <a:gd name="T45" fmla="*/ 747 h 900"/>
                <a:gd name="T46" fmla="*/ 257 w 731"/>
                <a:gd name="T47" fmla="*/ 756 h 900"/>
                <a:gd name="T48" fmla="*/ 235 w 731"/>
                <a:gd name="T49" fmla="*/ 785 h 900"/>
                <a:gd name="T50" fmla="*/ 203 w 731"/>
                <a:gd name="T51" fmla="*/ 803 h 900"/>
                <a:gd name="T52" fmla="*/ 160 w 731"/>
                <a:gd name="T53" fmla="*/ 798 h 900"/>
                <a:gd name="T54" fmla="*/ 132 w 731"/>
                <a:gd name="T55" fmla="*/ 830 h 900"/>
                <a:gd name="T56" fmla="*/ 99 w 731"/>
                <a:gd name="T57" fmla="*/ 897 h 900"/>
                <a:gd name="T58" fmla="*/ 29 w 731"/>
                <a:gd name="T59" fmla="*/ 842 h 900"/>
                <a:gd name="T60" fmla="*/ 0 w 731"/>
                <a:gd name="T61" fmla="*/ 820 h 900"/>
                <a:gd name="T62" fmla="*/ 43 w 731"/>
                <a:gd name="T63" fmla="*/ 767 h 900"/>
                <a:gd name="T64" fmla="*/ 37 w 731"/>
                <a:gd name="T65" fmla="*/ 724 h 900"/>
                <a:gd name="T66" fmla="*/ 125 w 731"/>
                <a:gd name="T67" fmla="*/ 648 h 900"/>
                <a:gd name="T68" fmla="*/ 134 w 731"/>
                <a:gd name="T69" fmla="*/ 592 h 900"/>
                <a:gd name="T70" fmla="*/ 163 w 731"/>
                <a:gd name="T71" fmla="*/ 512 h 900"/>
                <a:gd name="T72" fmla="*/ 158 w 731"/>
                <a:gd name="T73" fmla="*/ 452 h 900"/>
                <a:gd name="T74" fmla="*/ 171 w 731"/>
                <a:gd name="T75" fmla="*/ 319 h 900"/>
                <a:gd name="T76" fmla="*/ 200 w 731"/>
                <a:gd name="T77" fmla="*/ 228 h 900"/>
                <a:gd name="T78" fmla="*/ 215 w 731"/>
                <a:gd name="T79" fmla="*/ 155 h 900"/>
                <a:gd name="T80" fmla="*/ 231 w 731"/>
                <a:gd name="T81" fmla="*/ 141 h 900"/>
                <a:gd name="T82" fmla="*/ 235 w 731"/>
                <a:gd name="T83" fmla="*/ 126 h 900"/>
                <a:gd name="T84" fmla="*/ 238 w 731"/>
                <a:gd name="T85" fmla="*/ 120 h 900"/>
                <a:gd name="T86" fmla="*/ 243 w 731"/>
                <a:gd name="T87" fmla="*/ 109 h 900"/>
                <a:gd name="T88" fmla="*/ 255 w 731"/>
                <a:gd name="T89" fmla="*/ 101 h 900"/>
                <a:gd name="T90" fmla="*/ 263 w 731"/>
                <a:gd name="T91" fmla="*/ 97 h 900"/>
                <a:gd name="T92" fmla="*/ 283 w 731"/>
                <a:gd name="T93" fmla="*/ 86 h 900"/>
                <a:gd name="T94" fmla="*/ 297 w 731"/>
                <a:gd name="T95" fmla="*/ 78 h 900"/>
                <a:gd name="T96" fmla="*/ 305 w 731"/>
                <a:gd name="T97" fmla="*/ 69 h 900"/>
                <a:gd name="T98" fmla="*/ 308 w 731"/>
                <a:gd name="T99" fmla="*/ 54 h 900"/>
                <a:gd name="T100" fmla="*/ 337 w 731"/>
                <a:gd name="T101" fmla="*/ 50 h 900"/>
                <a:gd name="T102" fmla="*/ 350 w 731"/>
                <a:gd name="T103" fmla="*/ 45 h 900"/>
                <a:gd name="T104" fmla="*/ 362 w 731"/>
                <a:gd name="T105" fmla="*/ 45 h 900"/>
                <a:gd name="T106" fmla="*/ 375 w 731"/>
                <a:gd name="T107" fmla="*/ 51 h 900"/>
                <a:gd name="T108" fmla="*/ 388 w 731"/>
                <a:gd name="T109" fmla="*/ 46 h 900"/>
                <a:gd name="T110" fmla="*/ 401 w 731"/>
                <a:gd name="T111" fmla="*/ 32 h 900"/>
                <a:gd name="T112" fmla="*/ 399 w 731"/>
                <a:gd name="T113" fmla="*/ 22 h 900"/>
                <a:gd name="T114" fmla="*/ 417 w 731"/>
                <a:gd name="T115" fmla="*/ 7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31" h="900">
                  <a:moveTo>
                    <a:pt x="487" y="2"/>
                  </a:moveTo>
                  <a:lnTo>
                    <a:pt x="592" y="153"/>
                  </a:lnTo>
                  <a:lnTo>
                    <a:pt x="616" y="289"/>
                  </a:lnTo>
                  <a:lnTo>
                    <a:pt x="619" y="290"/>
                  </a:lnTo>
                  <a:lnTo>
                    <a:pt x="619" y="294"/>
                  </a:lnTo>
                  <a:lnTo>
                    <a:pt x="613" y="300"/>
                  </a:lnTo>
                  <a:lnTo>
                    <a:pt x="614" y="306"/>
                  </a:lnTo>
                  <a:lnTo>
                    <a:pt x="618" y="306"/>
                  </a:lnTo>
                  <a:lnTo>
                    <a:pt x="616" y="308"/>
                  </a:lnTo>
                  <a:lnTo>
                    <a:pt x="618" y="311"/>
                  </a:lnTo>
                  <a:lnTo>
                    <a:pt x="613" y="311"/>
                  </a:lnTo>
                  <a:lnTo>
                    <a:pt x="613" y="316"/>
                  </a:lnTo>
                  <a:lnTo>
                    <a:pt x="626" y="327"/>
                  </a:lnTo>
                  <a:lnTo>
                    <a:pt x="637" y="326"/>
                  </a:lnTo>
                  <a:lnTo>
                    <a:pt x="642" y="329"/>
                  </a:lnTo>
                  <a:lnTo>
                    <a:pt x="642" y="326"/>
                  </a:lnTo>
                  <a:lnTo>
                    <a:pt x="645" y="329"/>
                  </a:lnTo>
                  <a:lnTo>
                    <a:pt x="648" y="324"/>
                  </a:lnTo>
                  <a:lnTo>
                    <a:pt x="661" y="329"/>
                  </a:lnTo>
                  <a:lnTo>
                    <a:pt x="673" y="326"/>
                  </a:lnTo>
                  <a:lnTo>
                    <a:pt x="675" y="330"/>
                  </a:lnTo>
                  <a:lnTo>
                    <a:pt x="680" y="329"/>
                  </a:lnTo>
                  <a:lnTo>
                    <a:pt x="683" y="332"/>
                  </a:lnTo>
                  <a:lnTo>
                    <a:pt x="686" y="330"/>
                  </a:lnTo>
                  <a:lnTo>
                    <a:pt x="685" y="332"/>
                  </a:lnTo>
                  <a:lnTo>
                    <a:pt x="694" y="335"/>
                  </a:lnTo>
                  <a:lnTo>
                    <a:pt x="691" y="343"/>
                  </a:lnTo>
                  <a:lnTo>
                    <a:pt x="701" y="346"/>
                  </a:lnTo>
                  <a:lnTo>
                    <a:pt x="701" y="353"/>
                  </a:lnTo>
                  <a:lnTo>
                    <a:pt x="702" y="351"/>
                  </a:lnTo>
                  <a:lnTo>
                    <a:pt x="701" y="358"/>
                  </a:lnTo>
                  <a:lnTo>
                    <a:pt x="710" y="359"/>
                  </a:lnTo>
                  <a:lnTo>
                    <a:pt x="715" y="365"/>
                  </a:lnTo>
                  <a:lnTo>
                    <a:pt x="712" y="367"/>
                  </a:lnTo>
                  <a:lnTo>
                    <a:pt x="715" y="370"/>
                  </a:lnTo>
                  <a:lnTo>
                    <a:pt x="720" y="370"/>
                  </a:lnTo>
                  <a:lnTo>
                    <a:pt x="720" y="367"/>
                  </a:lnTo>
                  <a:lnTo>
                    <a:pt x="726" y="367"/>
                  </a:lnTo>
                  <a:lnTo>
                    <a:pt x="729" y="372"/>
                  </a:lnTo>
                  <a:lnTo>
                    <a:pt x="731" y="375"/>
                  </a:lnTo>
                  <a:lnTo>
                    <a:pt x="725" y="381"/>
                  </a:lnTo>
                  <a:lnTo>
                    <a:pt x="726" y="386"/>
                  </a:lnTo>
                  <a:lnTo>
                    <a:pt x="721" y="393"/>
                  </a:lnTo>
                  <a:lnTo>
                    <a:pt x="725" y="399"/>
                  </a:lnTo>
                  <a:lnTo>
                    <a:pt x="720" y="401"/>
                  </a:lnTo>
                  <a:lnTo>
                    <a:pt x="718" y="404"/>
                  </a:lnTo>
                  <a:lnTo>
                    <a:pt x="721" y="418"/>
                  </a:lnTo>
                  <a:lnTo>
                    <a:pt x="726" y="423"/>
                  </a:lnTo>
                  <a:lnTo>
                    <a:pt x="720" y="429"/>
                  </a:lnTo>
                  <a:lnTo>
                    <a:pt x="723" y="436"/>
                  </a:lnTo>
                  <a:lnTo>
                    <a:pt x="713" y="445"/>
                  </a:lnTo>
                  <a:lnTo>
                    <a:pt x="717" y="448"/>
                  </a:lnTo>
                  <a:lnTo>
                    <a:pt x="713" y="460"/>
                  </a:lnTo>
                  <a:lnTo>
                    <a:pt x="717" y="466"/>
                  </a:lnTo>
                  <a:lnTo>
                    <a:pt x="701" y="480"/>
                  </a:lnTo>
                  <a:lnTo>
                    <a:pt x="701" y="482"/>
                  </a:lnTo>
                  <a:lnTo>
                    <a:pt x="712" y="485"/>
                  </a:lnTo>
                  <a:lnTo>
                    <a:pt x="721" y="495"/>
                  </a:lnTo>
                  <a:lnTo>
                    <a:pt x="721" y="503"/>
                  </a:lnTo>
                  <a:lnTo>
                    <a:pt x="725" y="504"/>
                  </a:lnTo>
                  <a:lnTo>
                    <a:pt x="717" y="527"/>
                  </a:lnTo>
                  <a:lnTo>
                    <a:pt x="713" y="531"/>
                  </a:lnTo>
                  <a:lnTo>
                    <a:pt x="693" y="539"/>
                  </a:lnTo>
                  <a:lnTo>
                    <a:pt x="683" y="551"/>
                  </a:lnTo>
                  <a:lnTo>
                    <a:pt x="672" y="552"/>
                  </a:lnTo>
                  <a:lnTo>
                    <a:pt x="648" y="573"/>
                  </a:lnTo>
                  <a:lnTo>
                    <a:pt x="618" y="592"/>
                  </a:lnTo>
                  <a:lnTo>
                    <a:pt x="603" y="590"/>
                  </a:lnTo>
                  <a:lnTo>
                    <a:pt x="597" y="586"/>
                  </a:lnTo>
                  <a:lnTo>
                    <a:pt x="567" y="578"/>
                  </a:lnTo>
                  <a:lnTo>
                    <a:pt x="563" y="590"/>
                  </a:lnTo>
                  <a:lnTo>
                    <a:pt x="552" y="603"/>
                  </a:lnTo>
                  <a:lnTo>
                    <a:pt x="551" y="613"/>
                  </a:lnTo>
                  <a:lnTo>
                    <a:pt x="543" y="618"/>
                  </a:lnTo>
                  <a:lnTo>
                    <a:pt x="544" y="621"/>
                  </a:lnTo>
                  <a:lnTo>
                    <a:pt x="539" y="626"/>
                  </a:lnTo>
                  <a:lnTo>
                    <a:pt x="539" y="630"/>
                  </a:lnTo>
                  <a:lnTo>
                    <a:pt x="528" y="637"/>
                  </a:lnTo>
                  <a:lnTo>
                    <a:pt x="528" y="645"/>
                  </a:lnTo>
                  <a:lnTo>
                    <a:pt x="525" y="646"/>
                  </a:lnTo>
                  <a:lnTo>
                    <a:pt x="523" y="651"/>
                  </a:lnTo>
                  <a:lnTo>
                    <a:pt x="514" y="649"/>
                  </a:lnTo>
                  <a:lnTo>
                    <a:pt x="509" y="651"/>
                  </a:lnTo>
                  <a:lnTo>
                    <a:pt x="509" y="657"/>
                  </a:lnTo>
                  <a:lnTo>
                    <a:pt x="504" y="661"/>
                  </a:lnTo>
                  <a:lnTo>
                    <a:pt x="509" y="672"/>
                  </a:lnTo>
                  <a:lnTo>
                    <a:pt x="506" y="680"/>
                  </a:lnTo>
                  <a:lnTo>
                    <a:pt x="482" y="677"/>
                  </a:lnTo>
                  <a:lnTo>
                    <a:pt x="456" y="686"/>
                  </a:lnTo>
                  <a:lnTo>
                    <a:pt x="431" y="680"/>
                  </a:lnTo>
                  <a:lnTo>
                    <a:pt x="418" y="688"/>
                  </a:lnTo>
                  <a:lnTo>
                    <a:pt x="413" y="693"/>
                  </a:lnTo>
                  <a:lnTo>
                    <a:pt x="415" y="710"/>
                  </a:lnTo>
                  <a:lnTo>
                    <a:pt x="410" y="713"/>
                  </a:lnTo>
                  <a:lnTo>
                    <a:pt x="412" y="716"/>
                  </a:lnTo>
                  <a:lnTo>
                    <a:pt x="407" y="723"/>
                  </a:lnTo>
                  <a:lnTo>
                    <a:pt x="407" y="729"/>
                  </a:lnTo>
                  <a:lnTo>
                    <a:pt x="402" y="731"/>
                  </a:lnTo>
                  <a:lnTo>
                    <a:pt x="399" y="739"/>
                  </a:lnTo>
                  <a:lnTo>
                    <a:pt x="399" y="742"/>
                  </a:lnTo>
                  <a:lnTo>
                    <a:pt x="391" y="755"/>
                  </a:lnTo>
                  <a:lnTo>
                    <a:pt x="399" y="764"/>
                  </a:lnTo>
                  <a:lnTo>
                    <a:pt x="391" y="782"/>
                  </a:lnTo>
                  <a:lnTo>
                    <a:pt x="373" y="779"/>
                  </a:lnTo>
                  <a:lnTo>
                    <a:pt x="369" y="783"/>
                  </a:lnTo>
                  <a:lnTo>
                    <a:pt x="361" y="785"/>
                  </a:lnTo>
                  <a:lnTo>
                    <a:pt x="342" y="775"/>
                  </a:lnTo>
                  <a:lnTo>
                    <a:pt x="338" y="767"/>
                  </a:lnTo>
                  <a:lnTo>
                    <a:pt x="332" y="766"/>
                  </a:lnTo>
                  <a:lnTo>
                    <a:pt x="324" y="758"/>
                  </a:lnTo>
                  <a:lnTo>
                    <a:pt x="316" y="758"/>
                  </a:lnTo>
                  <a:lnTo>
                    <a:pt x="305" y="752"/>
                  </a:lnTo>
                  <a:lnTo>
                    <a:pt x="297" y="753"/>
                  </a:lnTo>
                  <a:lnTo>
                    <a:pt x="289" y="747"/>
                  </a:lnTo>
                  <a:lnTo>
                    <a:pt x="278" y="747"/>
                  </a:lnTo>
                  <a:lnTo>
                    <a:pt x="275" y="755"/>
                  </a:lnTo>
                  <a:lnTo>
                    <a:pt x="273" y="753"/>
                  </a:lnTo>
                  <a:lnTo>
                    <a:pt x="267" y="755"/>
                  </a:lnTo>
                  <a:lnTo>
                    <a:pt x="263" y="756"/>
                  </a:lnTo>
                  <a:lnTo>
                    <a:pt x="257" y="756"/>
                  </a:lnTo>
                  <a:lnTo>
                    <a:pt x="254" y="763"/>
                  </a:lnTo>
                  <a:lnTo>
                    <a:pt x="254" y="769"/>
                  </a:lnTo>
                  <a:lnTo>
                    <a:pt x="247" y="775"/>
                  </a:lnTo>
                  <a:lnTo>
                    <a:pt x="239" y="774"/>
                  </a:lnTo>
                  <a:lnTo>
                    <a:pt x="235" y="785"/>
                  </a:lnTo>
                  <a:lnTo>
                    <a:pt x="235" y="796"/>
                  </a:lnTo>
                  <a:lnTo>
                    <a:pt x="233" y="798"/>
                  </a:lnTo>
                  <a:lnTo>
                    <a:pt x="228" y="795"/>
                  </a:lnTo>
                  <a:lnTo>
                    <a:pt x="223" y="799"/>
                  </a:lnTo>
                  <a:lnTo>
                    <a:pt x="203" y="803"/>
                  </a:lnTo>
                  <a:lnTo>
                    <a:pt x="190" y="807"/>
                  </a:lnTo>
                  <a:lnTo>
                    <a:pt x="184" y="803"/>
                  </a:lnTo>
                  <a:lnTo>
                    <a:pt x="180" y="804"/>
                  </a:lnTo>
                  <a:lnTo>
                    <a:pt x="166" y="798"/>
                  </a:lnTo>
                  <a:lnTo>
                    <a:pt x="160" y="798"/>
                  </a:lnTo>
                  <a:lnTo>
                    <a:pt x="155" y="809"/>
                  </a:lnTo>
                  <a:lnTo>
                    <a:pt x="147" y="814"/>
                  </a:lnTo>
                  <a:lnTo>
                    <a:pt x="139" y="822"/>
                  </a:lnTo>
                  <a:lnTo>
                    <a:pt x="139" y="827"/>
                  </a:lnTo>
                  <a:lnTo>
                    <a:pt x="132" y="830"/>
                  </a:lnTo>
                  <a:lnTo>
                    <a:pt x="121" y="844"/>
                  </a:lnTo>
                  <a:lnTo>
                    <a:pt x="115" y="849"/>
                  </a:lnTo>
                  <a:lnTo>
                    <a:pt x="113" y="868"/>
                  </a:lnTo>
                  <a:lnTo>
                    <a:pt x="102" y="882"/>
                  </a:lnTo>
                  <a:lnTo>
                    <a:pt x="99" y="897"/>
                  </a:lnTo>
                  <a:lnTo>
                    <a:pt x="86" y="900"/>
                  </a:lnTo>
                  <a:lnTo>
                    <a:pt x="73" y="868"/>
                  </a:lnTo>
                  <a:lnTo>
                    <a:pt x="59" y="857"/>
                  </a:lnTo>
                  <a:lnTo>
                    <a:pt x="42" y="852"/>
                  </a:lnTo>
                  <a:lnTo>
                    <a:pt x="29" y="842"/>
                  </a:lnTo>
                  <a:lnTo>
                    <a:pt x="16" y="841"/>
                  </a:lnTo>
                  <a:lnTo>
                    <a:pt x="13" y="838"/>
                  </a:lnTo>
                  <a:lnTo>
                    <a:pt x="16" y="835"/>
                  </a:lnTo>
                  <a:lnTo>
                    <a:pt x="8" y="823"/>
                  </a:lnTo>
                  <a:lnTo>
                    <a:pt x="0" y="820"/>
                  </a:lnTo>
                  <a:lnTo>
                    <a:pt x="3" y="811"/>
                  </a:lnTo>
                  <a:lnTo>
                    <a:pt x="21" y="791"/>
                  </a:lnTo>
                  <a:lnTo>
                    <a:pt x="48" y="779"/>
                  </a:lnTo>
                  <a:lnTo>
                    <a:pt x="50" y="774"/>
                  </a:lnTo>
                  <a:lnTo>
                    <a:pt x="43" y="767"/>
                  </a:lnTo>
                  <a:lnTo>
                    <a:pt x="37" y="766"/>
                  </a:lnTo>
                  <a:lnTo>
                    <a:pt x="45" y="756"/>
                  </a:lnTo>
                  <a:lnTo>
                    <a:pt x="46" y="745"/>
                  </a:lnTo>
                  <a:lnTo>
                    <a:pt x="46" y="737"/>
                  </a:lnTo>
                  <a:lnTo>
                    <a:pt x="37" y="724"/>
                  </a:lnTo>
                  <a:lnTo>
                    <a:pt x="34" y="712"/>
                  </a:lnTo>
                  <a:lnTo>
                    <a:pt x="40" y="688"/>
                  </a:lnTo>
                  <a:lnTo>
                    <a:pt x="54" y="675"/>
                  </a:lnTo>
                  <a:lnTo>
                    <a:pt x="99" y="664"/>
                  </a:lnTo>
                  <a:lnTo>
                    <a:pt x="125" y="648"/>
                  </a:lnTo>
                  <a:lnTo>
                    <a:pt x="129" y="643"/>
                  </a:lnTo>
                  <a:lnTo>
                    <a:pt x="131" y="633"/>
                  </a:lnTo>
                  <a:lnTo>
                    <a:pt x="126" y="618"/>
                  </a:lnTo>
                  <a:lnTo>
                    <a:pt x="131" y="600"/>
                  </a:lnTo>
                  <a:lnTo>
                    <a:pt x="134" y="592"/>
                  </a:lnTo>
                  <a:lnTo>
                    <a:pt x="147" y="579"/>
                  </a:lnTo>
                  <a:lnTo>
                    <a:pt x="150" y="566"/>
                  </a:lnTo>
                  <a:lnTo>
                    <a:pt x="171" y="536"/>
                  </a:lnTo>
                  <a:lnTo>
                    <a:pt x="169" y="522"/>
                  </a:lnTo>
                  <a:lnTo>
                    <a:pt x="163" y="512"/>
                  </a:lnTo>
                  <a:lnTo>
                    <a:pt x="150" y="499"/>
                  </a:lnTo>
                  <a:lnTo>
                    <a:pt x="150" y="488"/>
                  </a:lnTo>
                  <a:lnTo>
                    <a:pt x="156" y="477"/>
                  </a:lnTo>
                  <a:lnTo>
                    <a:pt x="160" y="463"/>
                  </a:lnTo>
                  <a:lnTo>
                    <a:pt x="158" y="452"/>
                  </a:lnTo>
                  <a:lnTo>
                    <a:pt x="160" y="450"/>
                  </a:lnTo>
                  <a:lnTo>
                    <a:pt x="163" y="426"/>
                  </a:lnTo>
                  <a:lnTo>
                    <a:pt x="174" y="373"/>
                  </a:lnTo>
                  <a:lnTo>
                    <a:pt x="169" y="330"/>
                  </a:lnTo>
                  <a:lnTo>
                    <a:pt x="171" y="319"/>
                  </a:lnTo>
                  <a:lnTo>
                    <a:pt x="177" y="306"/>
                  </a:lnTo>
                  <a:lnTo>
                    <a:pt x="198" y="294"/>
                  </a:lnTo>
                  <a:lnTo>
                    <a:pt x="219" y="255"/>
                  </a:lnTo>
                  <a:lnTo>
                    <a:pt x="215" y="243"/>
                  </a:lnTo>
                  <a:lnTo>
                    <a:pt x="200" y="228"/>
                  </a:lnTo>
                  <a:lnTo>
                    <a:pt x="196" y="220"/>
                  </a:lnTo>
                  <a:lnTo>
                    <a:pt x="196" y="200"/>
                  </a:lnTo>
                  <a:lnTo>
                    <a:pt x="201" y="156"/>
                  </a:lnTo>
                  <a:lnTo>
                    <a:pt x="215" y="160"/>
                  </a:lnTo>
                  <a:lnTo>
                    <a:pt x="215" y="155"/>
                  </a:lnTo>
                  <a:lnTo>
                    <a:pt x="220" y="153"/>
                  </a:lnTo>
                  <a:lnTo>
                    <a:pt x="219" y="145"/>
                  </a:lnTo>
                  <a:lnTo>
                    <a:pt x="222" y="141"/>
                  </a:lnTo>
                  <a:lnTo>
                    <a:pt x="228" y="137"/>
                  </a:lnTo>
                  <a:lnTo>
                    <a:pt x="231" y="141"/>
                  </a:lnTo>
                  <a:lnTo>
                    <a:pt x="231" y="137"/>
                  </a:lnTo>
                  <a:lnTo>
                    <a:pt x="235" y="136"/>
                  </a:lnTo>
                  <a:lnTo>
                    <a:pt x="233" y="136"/>
                  </a:lnTo>
                  <a:lnTo>
                    <a:pt x="233" y="131"/>
                  </a:lnTo>
                  <a:lnTo>
                    <a:pt x="235" y="126"/>
                  </a:lnTo>
                  <a:lnTo>
                    <a:pt x="231" y="128"/>
                  </a:lnTo>
                  <a:lnTo>
                    <a:pt x="228" y="123"/>
                  </a:lnTo>
                  <a:lnTo>
                    <a:pt x="233" y="126"/>
                  </a:lnTo>
                  <a:lnTo>
                    <a:pt x="233" y="120"/>
                  </a:lnTo>
                  <a:lnTo>
                    <a:pt x="238" y="120"/>
                  </a:lnTo>
                  <a:lnTo>
                    <a:pt x="236" y="115"/>
                  </a:lnTo>
                  <a:lnTo>
                    <a:pt x="239" y="113"/>
                  </a:lnTo>
                  <a:lnTo>
                    <a:pt x="239" y="109"/>
                  </a:lnTo>
                  <a:lnTo>
                    <a:pt x="241" y="110"/>
                  </a:lnTo>
                  <a:lnTo>
                    <a:pt x="243" y="109"/>
                  </a:lnTo>
                  <a:lnTo>
                    <a:pt x="239" y="107"/>
                  </a:lnTo>
                  <a:lnTo>
                    <a:pt x="251" y="107"/>
                  </a:lnTo>
                  <a:lnTo>
                    <a:pt x="254" y="102"/>
                  </a:lnTo>
                  <a:lnTo>
                    <a:pt x="252" y="99"/>
                  </a:lnTo>
                  <a:lnTo>
                    <a:pt x="255" y="101"/>
                  </a:lnTo>
                  <a:lnTo>
                    <a:pt x="255" y="105"/>
                  </a:lnTo>
                  <a:lnTo>
                    <a:pt x="259" y="105"/>
                  </a:lnTo>
                  <a:lnTo>
                    <a:pt x="263" y="109"/>
                  </a:lnTo>
                  <a:lnTo>
                    <a:pt x="267" y="102"/>
                  </a:lnTo>
                  <a:lnTo>
                    <a:pt x="263" y="97"/>
                  </a:lnTo>
                  <a:lnTo>
                    <a:pt x="273" y="101"/>
                  </a:lnTo>
                  <a:lnTo>
                    <a:pt x="270" y="97"/>
                  </a:lnTo>
                  <a:lnTo>
                    <a:pt x="278" y="96"/>
                  </a:lnTo>
                  <a:lnTo>
                    <a:pt x="276" y="91"/>
                  </a:lnTo>
                  <a:lnTo>
                    <a:pt x="283" y="86"/>
                  </a:lnTo>
                  <a:lnTo>
                    <a:pt x="283" y="82"/>
                  </a:lnTo>
                  <a:lnTo>
                    <a:pt x="290" y="85"/>
                  </a:lnTo>
                  <a:lnTo>
                    <a:pt x="287" y="78"/>
                  </a:lnTo>
                  <a:lnTo>
                    <a:pt x="290" y="77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4" y="70"/>
                  </a:lnTo>
                  <a:lnTo>
                    <a:pt x="297" y="70"/>
                  </a:lnTo>
                  <a:lnTo>
                    <a:pt x="300" y="66"/>
                  </a:lnTo>
                  <a:lnTo>
                    <a:pt x="305" y="69"/>
                  </a:lnTo>
                  <a:lnTo>
                    <a:pt x="305" y="64"/>
                  </a:lnTo>
                  <a:lnTo>
                    <a:pt x="306" y="62"/>
                  </a:lnTo>
                  <a:lnTo>
                    <a:pt x="303" y="56"/>
                  </a:lnTo>
                  <a:lnTo>
                    <a:pt x="308" y="61"/>
                  </a:lnTo>
                  <a:lnTo>
                    <a:pt x="308" y="54"/>
                  </a:lnTo>
                  <a:lnTo>
                    <a:pt x="319" y="58"/>
                  </a:lnTo>
                  <a:lnTo>
                    <a:pt x="326" y="53"/>
                  </a:lnTo>
                  <a:lnTo>
                    <a:pt x="327" y="54"/>
                  </a:lnTo>
                  <a:lnTo>
                    <a:pt x="327" y="50"/>
                  </a:lnTo>
                  <a:lnTo>
                    <a:pt x="337" y="50"/>
                  </a:lnTo>
                  <a:lnTo>
                    <a:pt x="337" y="53"/>
                  </a:lnTo>
                  <a:lnTo>
                    <a:pt x="343" y="46"/>
                  </a:lnTo>
                  <a:lnTo>
                    <a:pt x="348" y="50"/>
                  </a:lnTo>
                  <a:lnTo>
                    <a:pt x="348" y="43"/>
                  </a:lnTo>
                  <a:lnTo>
                    <a:pt x="350" y="45"/>
                  </a:lnTo>
                  <a:lnTo>
                    <a:pt x="353" y="43"/>
                  </a:lnTo>
                  <a:lnTo>
                    <a:pt x="356" y="46"/>
                  </a:lnTo>
                  <a:lnTo>
                    <a:pt x="354" y="48"/>
                  </a:lnTo>
                  <a:lnTo>
                    <a:pt x="359" y="51"/>
                  </a:lnTo>
                  <a:lnTo>
                    <a:pt x="362" y="45"/>
                  </a:lnTo>
                  <a:lnTo>
                    <a:pt x="367" y="50"/>
                  </a:lnTo>
                  <a:lnTo>
                    <a:pt x="367" y="45"/>
                  </a:lnTo>
                  <a:lnTo>
                    <a:pt x="372" y="42"/>
                  </a:lnTo>
                  <a:lnTo>
                    <a:pt x="370" y="50"/>
                  </a:lnTo>
                  <a:lnTo>
                    <a:pt x="375" y="51"/>
                  </a:lnTo>
                  <a:lnTo>
                    <a:pt x="377" y="46"/>
                  </a:lnTo>
                  <a:lnTo>
                    <a:pt x="380" y="45"/>
                  </a:lnTo>
                  <a:lnTo>
                    <a:pt x="385" y="51"/>
                  </a:lnTo>
                  <a:lnTo>
                    <a:pt x="383" y="48"/>
                  </a:lnTo>
                  <a:lnTo>
                    <a:pt x="388" y="46"/>
                  </a:lnTo>
                  <a:lnTo>
                    <a:pt x="386" y="43"/>
                  </a:lnTo>
                  <a:lnTo>
                    <a:pt x="394" y="38"/>
                  </a:lnTo>
                  <a:lnTo>
                    <a:pt x="391" y="34"/>
                  </a:lnTo>
                  <a:lnTo>
                    <a:pt x="397" y="35"/>
                  </a:lnTo>
                  <a:lnTo>
                    <a:pt x="401" y="32"/>
                  </a:lnTo>
                  <a:lnTo>
                    <a:pt x="396" y="30"/>
                  </a:lnTo>
                  <a:lnTo>
                    <a:pt x="397" y="29"/>
                  </a:lnTo>
                  <a:lnTo>
                    <a:pt x="396" y="27"/>
                  </a:lnTo>
                  <a:lnTo>
                    <a:pt x="399" y="26"/>
                  </a:lnTo>
                  <a:lnTo>
                    <a:pt x="399" y="22"/>
                  </a:lnTo>
                  <a:lnTo>
                    <a:pt x="402" y="21"/>
                  </a:lnTo>
                  <a:lnTo>
                    <a:pt x="409" y="10"/>
                  </a:lnTo>
                  <a:lnTo>
                    <a:pt x="412" y="8"/>
                  </a:lnTo>
                  <a:lnTo>
                    <a:pt x="413" y="11"/>
                  </a:lnTo>
                  <a:lnTo>
                    <a:pt x="417" y="7"/>
                  </a:lnTo>
                  <a:lnTo>
                    <a:pt x="417" y="3"/>
                  </a:lnTo>
                  <a:lnTo>
                    <a:pt x="420" y="0"/>
                  </a:lnTo>
                  <a:lnTo>
                    <a:pt x="487" y="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/>
            <a:lstStyle/>
            <a:p>
              <a:pPr algn="ctr"/>
              <a:endParaRPr lang="en-US" sz="800" dirty="0"/>
            </a:p>
          </p:txBody>
        </p:sp>
        <p:sp>
          <p:nvSpPr>
            <p:cNvPr id="28" name="Freeform 212">
              <a:extLst>
                <a:ext uri="{FF2B5EF4-FFF2-40B4-BE49-F238E27FC236}">
                  <a16:creationId xmlns:a16="http://schemas.microsoft.com/office/drawing/2014/main" id="{A871AA43-9469-4518-869B-F77125A73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2713" y="3922713"/>
              <a:ext cx="782637" cy="784225"/>
            </a:xfrm>
            <a:custGeom>
              <a:avLst/>
              <a:gdLst>
                <a:gd name="T0" fmla="*/ 469 w 493"/>
                <a:gd name="T1" fmla="*/ 242 h 494"/>
                <a:gd name="T2" fmla="*/ 475 w 493"/>
                <a:gd name="T3" fmla="*/ 258 h 494"/>
                <a:gd name="T4" fmla="*/ 474 w 493"/>
                <a:gd name="T5" fmla="*/ 274 h 494"/>
                <a:gd name="T6" fmla="*/ 478 w 493"/>
                <a:gd name="T7" fmla="*/ 280 h 494"/>
                <a:gd name="T8" fmla="*/ 482 w 493"/>
                <a:gd name="T9" fmla="*/ 295 h 494"/>
                <a:gd name="T10" fmla="*/ 482 w 493"/>
                <a:gd name="T11" fmla="*/ 311 h 494"/>
                <a:gd name="T12" fmla="*/ 493 w 493"/>
                <a:gd name="T13" fmla="*/ 323 h 494"/>
                <a:gd name="T14" fmla="*/ 485 w 493"/>
                <a:gd name="T15" fmla="*/ 333 h 494"/>
                <a:gd name="T16" fmla="*/ 482 w 493"/>
                <a:gd name="T17" fmla="*/ 347 h 494"/>
                <a:gd name="T18" fmla="*/ 443 w 493"/>
                <a:gd name="T19" fmla="*/ 351 h 494"/>
                <a:gd name="T20" fmla="*/ 351 w 493"/>
                <a:gd name="T21" fmla="*/ 442 h 494"/>
                <a:gd name="T22" fmla="*/ 274 w 493"/>
                <a:gd name="T23" fmla="*/ 494 h 494"/>
                <a:gd name="T24" fmla="*/ 206 w 493"/>
                <a:gd name="T25" fmla="*/ 480 h 494"/>
                <a:gd name="T26" fmla="*/ 150 w 493"/>
                <a:gd name="T27" fmla="*/ 470 h 494"/>
                <a:gd name="T28" fmla="*/ 92 w 493"/>
                <a:gd name="T29" fmla="*/ 414 h 494"/>
                <a:gd name="T30" fmla="*/ 108 w 493"/>
                <a:gd name="T31" fmla="*/ 365 h 494"/>
                <a:gd name="T32" fmla="*/ 115 w 493"/>
                <a:gd name="T33" fmla="*/ 352 h 494"/>
                <a:gd name="T34" fmla="*/ 99 w 493"/>
                <a:gd name="T35" fmla="*/ 333 h 494"/>
                <a:gd name="T36" fmla="*/ 57 w 493"/>
                <a:gd name="T37" fmla="*/ 325 h 494"/>
                <a:gd name="T38" fmla="*/ 38 w 493"/>
                <a:gd name="T39" fmla="*/ 315 h 494"/>
                <a:gd name="T40" fmla="*/ 38 w 493"/>
                <a:gd name="T41" fmla="*/ 306 h 494"/>
                <a:gd name="T42" fmla="*/ 25 w 493"/>
                <a:gd name="T43" fmla="*/ 298 h 494"/>
                <a:gd name="T44" fmla="*/ 36 w 493"/>
                <a:gd name="T45" fmla="*/ 253 h 494"/>
                <a:gd name="T46" fmla="*/ 17 w 493"/>
                <a:gd name="T47" fmla="*/ 225 h 494"/>
                <a:gd name="T48" fmla="*/ 3 w 493"/>
                <a:gd name="T49" fmla="*/ 193 h 494"/>
                <a:gd name="T50" fmla="*/ 30 w 493"/>
                <a:gd name="T51" fmla="*/ 166 h 494"/>
                <a:gd name="T52" fmla="*/ 25 w 493"/>
                <a:gd name="T53" fmla="*/ 95 h 494"/>
                <a:gd name="T54" fmla="*/ 52 w 493"/>
                <a:gd name="T55" fmla="*/ 0 h 494"/>
                <a:gd name="T56" fmla="*/ 92 w 493"/>
                <a:gd name="T57" fmla="*/ 57 h 494"/>
                <a:gd name="T58" fmla="*/ 94 w 493"/>
                <a:gd name="T59" fmla="*/ 116 h 494"/>
                <a:gd name="T60" fmla="*/ 164 w 493"/>
                <a:gd name="T61" fmla="*/ 118 h 494"/>
                <a:gd name="T62" fmla="*/ 153 w 493"/>
                <a:gd name="T63" fmla="*/ 145 h 494"/>
                <a:gd name="T64" fmla="*/ 161 w 493"/>
                <a:gd name="T65" fmla="*/ 167 h 494"/>
                <a:gd name="T66" fmla="*/ 177 w 493"/>
                <a:gd name="T67" fmla="*/ 194 h 494"/>
                <a:gd name="T68" fmla="*/ 250 w 493"/>
                <a:gd name="T69" fmla="*/ 221 h 494"/>
                <a:gd name="T70" fmla="*/ 271 w 493"/>
                <a:gd name="T71" fmla="*/ 197 h 494"/>
                <a:gd name="T72" fmla="*/ 289 w 493"/>
                <a:gd name="T73" fmla="*/ 172 h 494"/>
                <a:gd name="T74" fmla="*/ 292 w 493"/>
                <a:gd name="T75" fmla="*/ 148 h 494"/>
                <a:gd name="T76" fmla="*/ 333 w 493"/>
                <a:gd name="T77" fmla="*/ 138 h 494"/>
                <a:gd name="T78" fmla="*/ 370 w 493"/>
                <a:gd name="T79" fmla="*/ 148 h 494"/>
                <a:gd name="T80" fmla="*/ 397 w 493"/>
                <a:gd name="T81" fmla="*/ 167 h 494"/>
                <a:gd name="T82" fmla="*/ 432 w 493"/>
                <a:gd name="T83" fmla="*/ 181 h 494"/>
                <a:gd name="T84" fmla="*/ 454 w 493"/>
                <a:gd name="T85" fmla="*/ 207 h 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93" h="494">
                  <a:moveTo>
                    <a:pt x="472" y="225"/>
                  </a:moveTo>
                  <a:lnTo>
                    <a:pt x="475" y="231"/>
                  </a:lnTo>
                  <a:lnTo>
                    <a:pt x="469" y="242"/>
                  </a:lnTo>
                  <a:lnTo>
                    <a:pt x="472" y="244"/>
                  </a:lnTo>
                  <a:lnTo>
                    <a:pt x="470" y="248"/>
                  </a:lnTo>
                  <a:lnTo>
                    <a:pt x="475" y="258"/>
                  </a:lnTo>
                  <a:lnTo>
                    <a:pt x="472" y="266"/>
                  </a:lnTo>
                  <a:lnTo>
                    <a:pt x="474" y="271"/>
                  </a:lnTo>
                  <a:lnTo>
                    <a:pt x="474" y="274"/>
                  </a:lnTo>
                  <a:lnTo>
                    <a:pt x="477" y="274"/>
                  </a:lnTo>
                  <a:lnTo>
                    <a:pt x="475" y="279"/>
                  </a:lnTo>
                  <a:lnTo>
                    <a:pt x="478" y="280"/>
                  </a:lnTo>
                  <a:lnTo>
                    <a:pt x="474" y="285"/>
                  </a:lnTo>
                  <a:lnTo>
                    <a:pt x="482" y="290"/>
                  </a:lnTo>
                  <a:lnTo>
                    <a:pt x="482" y="295"/>
                  </a:lnTo>
                  <a:lnTo>
                    <a:pt x="486" y="300"/>
                  </a:lnTo>
                  <a:lnTo>
                    <a:pt x="485" y="309"/>
                  </a:lnTo>
                  <a:lnTo>
                    <a:pt x="482" y="311"/>
                  </a:lnTo>
                  <a:lnTo>
                    <a:pt x="486" y="320"/>
                  </a:lnTo>
                  <a:lnTo>
                    <a:pt x="491" y="320"/>
                  </a:lnTo>
                  <a:lnTo>
                    <a:pt x="493" y="323"/>
                  </a:lnTo>
                  <a:lnTo>
                    <a:pt x="490" y="328"/>
                  </a:lnTo>
                  <a:lnTo>
                    <a:pt x="485" y="330"/>
                  </a:lnTo>
                  <a:lnTo>
                    <a:pt x="485" y="333"/>
                  </a:lnTo>
                  <a:lnTo>
                    <a:pt x="488" y="338"/>
                  </a:lnTo>
                  <a:lnTo>
                    <a:pt x="483" y="341"/>
                  </a:lnTo>
                  <a:lnTo>
                    <a:pt x="482" y="347"/>
                  </a:lnTo>
                  <a:lnTo>
                    <a:pt x="477" y="352"/>
                  </a:lnTo>
                  <a:lnTo>
                    <a:pt x="459" y="349"/>
                  </a:lnTo>
                  <a:lnTo>
                    <a:pt x="443" y="351"/>
                  </a:lnTo>
                  <a:lnTo>
                    <a:pt x="427" y="360"/>
                  </a:lnTo>
                  <a:lnTo>
                    <a:pt x="402" y="382"/>
                  </a:lnTo>
                  <a:lnTo>
                    <a:pt x="351" y="442"/>
                  </a:lnTo>
                  <a:lnTo>
                    <a:pt x="311" y="475"/>
                  </a:lnTo>
                  <a:lnTo>
                    <a:pt x="293" y="486"/>
                  </a:lnTo>
                  <a:lnTo>
                    <a:pt x="274" y="494"/>
                  </a:lnTo>
                  <a:lnTo>
                    <a:pt x="252" y="494"/>
                  </a:lnTo>
                  <a:lnTo>
                    <a:pt x="228" y="483"/>
                  </a:lnTo>
                  <a:lnTo>
                    <a:pt x="206" y="480"/>
                  </a:lnTo>
                  <a:lnTo>
                    <a:pt x="196" y="472"/>
                  </a:lnTo>
                  <a:lnTo>
                    <a:pt x="188" y="470"/>
                  </a:lnTo>
                  <a:lnTo>
                    <a:pt x="150" y="470"/>
                  </a:lnTo>
                  <a:lnTo>
                    <a:pt x="123" y="475"/>
                  </a:lnTo>
                  <a:lnTo>
                    <a:pt x="95" y="448"/>
                  </a:lnTo>
                  <a:lnTo>
                    <a:pt x="92" y="414"/>
                  </a:lnTo>
                  <a:lnTo>
                    <a:pt x="89" y="406"/>
                  </a:lnTo>
                  <a:lnTo>
                    <a:pt x="92" y="402"/>
                  </a:lnTo>
                  <a:lnTo>
                    <a:pt x="108" y="365"/>
                  </a:lnTo>
                  <a:lnTo>
                    <a:pt x="110" y="359"/>
                  </a:lnTo>
                  <a:lnTo>
                    <a:pt x="111" y="359"/>
                  </a:lnTo>
                  <a:lnTo>
                    <a:pt x="115" y="352"/>
                  </a:lnTo>
                  <a:lnTo>
                    <a:pt x="115" y="347"/>
                  </a:lnTo>
                  <a:lnTo>
                    <a:pt x="110" y="339"/>
                  </a:lnTo>
                  <a:lnTo>
                    <a:pt x="99" y="333"/>
                  </a:lnTo>
                  <a:lnTo>
                    <a:pt x="84" y="331"/>
                  </a:lnTo>
                  <a:lnTo>
                    <a:pt x="65" y="335"/>
                  </a:lnTo>
                  <a:lnTo>
                    <a:pt x="57" y="325"/>
                  </a:lnTo>
                  <a:lnTo>
                    <a:pt x="49" y="325"/>
                  </a:lnTo>
                  <a:lnTo>
                    <a:pt x="46" y="320"/>
                  </a:lnTo>
                  <a:lnTo>
                    <a:pt x="38" y="315"/>
                  </a:lnTo>
                  <a:lnTo>
                    <a:pt x="35" y="312"/>
                  </a:lnTo>
                  <a:lnTo>
                    <a:pt x="36" y="311"/>
                  </a:lnTo>
                  <a:lnTo>
                    <a:pt x="38" y="306"/>
                  </a:lnTo>
                  <a:lnTo>
                    <a:pt x="36" y="303"/>
                  </a:lnTo>
                  <a:lnTo>
                    <a:pt x="41" y="300"/>
                  </a:lnTo>
                  <a:lnTo>
                    <a:pt x="25" y="298"/>
                  </a:lnTo>
                  <a:lnTo>
                    <a:pt x="16" y="295"/>
                  </a:lnTo>
                  <a:lnTo>
                    <a:pt x="25" y="268"/>
                  </a:lnTo>
                  <a:lnTo>
                    <a:pt x="36" y="253"/>
                  </a:lnTo>
                  <a:lnTo>
                    <a:pt x="36" y="245"/>
                  </a:lnTo>
                  <a:lnTo>
                    <a:pt x="30" y="234"/>
                  </a:lnTo>
                  <a:lnTo>
                    <a:pt x="17" y="225"/>
                  </a:lnTo>
                  <a:lnTo>
                    <a:pt x="11" y="221"/>
                  </a:lnTo>
                  <a:lnTo>
                    <a:pt x="0" y="207"/>
                  </a:lnTo>
                  <a:lnTo>
                    <a:pt x="3" y="193"/>
                  </a:lnTo>
                  <a:lnTo>
                    <a:pt x="22" y="183"/>
                  </a:lnTo>
                  <a:lnTo>
                    <a:pt x="30" y="174"/>
                  </a:lnTo>
                  <a:lnTo>
                    <a:pt x="30" y="166"/>
                  </a:lnTo>
                  <a:lnTo>
                    <a:pt x="16" y="145"/>
                  </a:lnTo>
                  <a:lnTo>
                    <a:pt x="16" y="135"/>
                  </a:lnTo>
                  <a:lnTo>
                    <a:pt x="25" y="95"/>
                  </a:lnTo>
                  <a:lnTo>
                    <a:pt x="30" y="52"/>
                  </a:lnTo>
                  <a:lnTo>
                    <a:pt x="52" y="24"/>
                  </a:lnTo>
                  <a:lnTo>
                    <a:pt x="52" y="0"/>
                  </a:lnTo>
                  <a:lnTo>
                    <a:pt x="71" y="3"/>
                  </a:lnTo>
                  <a:lnTo>
                    <a:pt x="84" y="22"/>
                  </a:lnTo>
                  <a:lnTo>
                    <a:pt x="92" y="57"/>
                  </a:lnTo>
                  <a:lnTo>
                    <a:pt x="87" y="78"/>
                  </a:lnTo>
                  <a:lnTo>
                    <a:pt x="92" y="110"/>
                  </a:lnTo>
                  <a:lnTo>
                    <a:pt x="94" y="116"/>
                  </a:lnTo>
                  <a:lnTo>
                    <a:pt x="140" y="103"/>
                  </a:lnTo>
                  <a:lnTo>
                    <a:pt x="156" y="108"/>
                  </a:lnTo>
                  <a:lnTo>
                    <a:pt x="164" y="118"/>
                  </a:lnTo>
                  <a:lnTo>
                    <a:pt x="167" y="122"/>
                  </a:lnTo>
                  <a:lnTo>
                    <a:pt x="166" y="129"/>
                  </a:lnTo>
                  <a:lnTo>
                    <a:pt x="153" y="145"/>
                  </a:lnTo>
                  <a:lnTo>
                    <a:pt x="151" y="151"/>
                  </a:lnTo>
                  <a:lnTo>
                    <a:pt x="153" y="158"/>
                  </a:lnTo>
                  <a:lnTo>
                    <a:pt x="161" y="167"/>
                  </a:lnTo>
                  <a:lnTo>
                    <a:pt x="159" y="180"/>
                  </a:lnTo>
                  <a:lnTo>
                    <a:pt x="170" y="194"/>
                  </a:lnTo>
                  <a:lnTo>
                    <a:pt x="177" y="194"/>
                  </a:lnTo>
                  <a:lnTo>
                    <a:pt x="199" y="201"/>
                  </a:lnTo>
                  <a:lnTo>
                    <a:pt x="237" y="221"/>
                  </a:lnTo>
                  <a:lnTo>
                    <a:pt x="250" y="221"/>
                  </a:lnTo>
                  <a:lnTo>
                    <a:pt x="253" y="217"/>
                  </a:lnTo>
                  <a:lnTo>
                    <a:pt x="266" y="212"/>
                  </a:lnTo>
                  <a:lnTo>
                    <a:pt x="271" y="197"/>
                  </a:lnTo>
                  <a:lnTo>
                    <a:pt x="277" y="199"/>
                  </a:lnTo>
                  <a:lnTo>
                    <a:pt x="285" y="189"/>
                  </a:lnTo>
                  <a:lnTo>
                    <a:pt x="289" y="172"/>
                  </a:lnTo>
                  <a:lnTo>
                    <a:pt x="287" y="169"/>
                  </a:lnTo>
                  <a:lnTo>
                    <a:pt x="293" y="154"/>
                  </a:lnTo>
                  <a:lnTo>
                    <a:pt x="292" y="148"/>
                  </a:lnTo>
                  <a:lnTo>
                    <a:pt x="296" y="137"/>
                  </a:lnTo>
                  <a:lnTo>
                    <a:pt x="320" y="129"/>
                  </a:lnTo>
                  <a:lnTo>
                    <a:pt x="333" y="138"/>
                  </a:lnTo>
                  <a:lnTo>
                    <a:pt x="341" y="138"/>
                  </a:lnTo>
                  <a:lnTo>
                    <a:pt x="367" y="145"/>
                  </a:lnTo>
                  <a:lnTo>
                    <a:pt x="370" y="148"/>
                  </a:lnTo>
                  <a:lnTo>
                    <a:pt x="371" y="164"/>
                  </a:lnTo>
                  <a:lnTo>
                    <a:pt x="381" y="170"/>
                  </a:lnTo>
                  <a:lnTo>
                    <a:pt x="397" y="167"/>
                  </a:lnTo>
                  <a:lnTo>
                    <a:pt x="408" y="170"/>
                  </a:lnTo>
                  <a:lnTo>
                    <a:pt x="411" y="169"/>
                  </a:lnTo>
                  <a:lnTo>
                    <a:pt x="432" y="181"/>
                  </a:lnTo>
                  <a:lnTo>
                    <a:pt x="450" y="180"/>
                  </a:lnTo>
                  <a:lnTo>
                    <a:pt x="448" y="197"/>
                  </a:lnTo>
                  <a:lnTo>
                    <a:pt x="454" y="207"/>
                  </a:lnTo>
                  <a:lnTo>
                    <a:pt x="472" y="22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/>
            <a:lstStyle/>
            <a:p>
              <a:pPr algn="ctr"/>
              <a:endParaRPr lang="en-US" sz="800" dirty="0"/>
            </a:p>
          </p:txBody>
        </p:sp>
        <p:sp>
          <p:nvSpPr>
            <p:cNvPr id="29" name="Freeform 213">
              <a:extLst>
                <a:ext uri="{FF2B5EF4-FFF2-40B4-BE49-F238E27FC236}">
                  <a16:creationId xmlns:a16="http://schemas.microsoft.com/office/drawing/2014/main" id="{F6BF66BF-4D86-4BBA-9963-398893323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15050" y="4765675"/>
              <a:ext cx="855662" cy="639762"/>
            </a:xfrm>
            <a:custGeom>
              <a:avLst/>
              <a:gdLst>
                <a:gd name="T0" fmla="*/ 373 w 539"/>
                <a:gd name="T1" fmla="*/ 83 h 403"/>
                <a:gd name="T2" fmla="*/ 389 w 539"/>
                <a:gd name="T3" fmla="*/ 92 h 403"/>
                <a:gd name="T4" fmla="*/ 425 w 539"/>
                <a:gd name="T5" fmla="*/ 68 h 403"/>
                <a:gd name="T6" fmla="*/ 445 w 539"/>
                <a:gd name="T7" fmla="*/ 72 h 403"/>
                <a:gd name="T8" fmla="*/ 487 w 539"/>
                <a:gd name="T9" fmla="*/ 108 h 403"/>
                <a:gd name="T10" fmla="*/ 539 w 539"/>
                <a:gd name="T11" fmla="*/ 158 h 403"/>
                <a:gd name="T12" fmla="*/ 496 w 539"/>
                <a:gd name="T13" fmla="*/ 274 h 403"/>
                <a:gd name="T14" fmla="*/ 480 w 539"/>
                <a:gd name="T15" fmla="*/ 311 h 403"/>
                <a:gd name="T16" fmla="*/ 469 w 539"/>
                <a:gd name="T17" fmla="*/ 380 h 403"/>
                <a:gd name="T18" fmla="*/ 468 w 539"/>
                <a:gd name="T19" fmla="*/ 388 h 403"/>
                <a:gd name="T20" fmla="*/ 455 w 539"/>
                <a:gd name="T21" fmla="*/ 397 h 403"/>
                <a:gd name="T22" fmla="*/ 429 w 539"/>
                <a:gd name="T23" fmla="*/ 402 h 403"/>
                <a:gd name="T24" fmla="*/ 431 w 539"/>
                <a:gd name="T25" fmla="*/ 380 h 403"/>
                <a:gd name="T26" fmla="*/ 394 w 539"/>
                <a:gd name="T27" fmla="*/ 332 h 403"/>
                <a:gd name="T28" fmla="*/ 346 w 539"/>
                <a:gd name="T29" fmla="*/ 356 h 403"/>
                <a:gd name="T30" fmla="*/ 335 w 539"/>
                <a:gd name="T31" fmla="*/ 346 h 403"/>
                <a:gd name="T32" fmla="*/ 319 w 539"/>
                <a:gd name="T33" fmla="*/ 346 h 403"/>
                <a:gd name="T34" fmla="*/ 314 w 539"/>
                <a:gd name="T35" fmla="*/ 343 h 403"/>
                <a:gd name="T36" fmla="*/ 316 w 539"/>
                <a:gd name="T37" fmla="*/ 322 h 403"/>
                <a:gd name="T38" fmla="*/ 228 w 539"/>
                <a:gd name="T39" fmla="*/ 277 h 403"/>
                <a:gd name="T40" fmla="*/ 227 w 539"/>
                <a:gd name="T41" fmla="*/ 287 h 403"/>
                <a:gd name="T42" fmla="*/ 227 w 539"/>
                <a:gd name="T43" fmla="*/ 297 h 403"/>
                <a:gd name="T44" fmla="*/ 223 w 539"/>
                <a:gd name="T45" fmla="*/ 301 h 403"/>
                <a:gd name="T46" fmla="*/ 145 w 539"/>
                <a:gd name="T47" fmla="*/ 333 h 403"/>
                <a:gd name="T48" fmla="*/ 134 w 539"/>
                <a:gd name="T49" fmla="*/ 321 h 403"/>
                <a:gd name="T50" fmla="*/ 128 w 539"/>
                <a:gd name="T51" fmla="*/ 314 h 403"/>
                <a:gd name="T52" fmla="*/ 78 w 539"/>
                <a:gd name="T53" fmla="*/ 356 h 403"/>
                <a:gd name="T54" fmla="*/ 72 w 539"/>
                <a:gd name="T55" fmla="*/ 389 h 403"/>
                <a:gd name="T56" fmla="*/ 45 w 539"/>
                <a:gd name="T57" fmla="*/ 378 h 403"/>
                <a:gd name="T58" fmla="*/ 42 w 539"/>
                <a:gd name="T59" fmla="*/ 368 h 403"/>
                <a:gd name="T60" fmla="*/ 40 w 539"/>
                <a:gd name="T61" fmla="*/ 354 h 403"/>
                <a:gd name="T62" fmla="*/ 32 w 539"/>
                <a:gd name="T63" fmla="*/ 357 h 403"/>
                <a:gd name="T64" fmla="*/ 22 w 539"/>
                <a:gd name="T65" fmla="*/ 340 h 403"/>
                <a:gd name="T66" fmla="*/ 30 w 539"/>
                <a:gd name="T67" fmla="*/ 298 h 403"/>
                <a:gd name="T68" fmla="*/ 8 w 539"/>
                <a:gd name="T69" fmla="*/ 298 h 403"/>
                <a:gd name="T70" fmla="*/ 2 w 539"/>
                <a:gd name="T71" fmla="*/ 285 h 403"/>
                <a:gd name="T72" fmla="*/ 29 w 539"/>
                <a:gd name="T73" fmla="*/ 242 h 403"/>
                <a:gd name="T74" fmla="*/ 51 w 539"/>
                <a:gd name="T75" fmla="*/ 242 h 403"/>
                <a:gd name="T76" fmla="*/ 57 w 539"/>
                <a:gd name="T77" fmla="*/ 223 h 403"/>
                <a:gd name="T78" fmla="*/ 69 w 539"/>
                <a:gd name="T79" fmla="*/ 191 h 403"/>
                <a:gd name="T80" fmla="*/ 48 w 539"/>
                <a:gd name="T81" fmla="*/ 140 h 403"/>
                <a:gd name="T82" fmla="*/ 53 w 539"/>
                <a:gd name="T83" fmla="*/ 84 h 403"/>
                <a:gd name="T84" fmla="*/ 34 w 539"/>
                <a:gd name="T85" fmla="*/ 65 h 403"/>
                <a:gd name="T86" fmla="*/ 22 w 539"/>
                <a:gd name="T87" fmla="*/ 46 h 403"/>
                <a:gd name="T88" fmla="*/ 29 w 539"/>
                <a:gd name="T89" fmla="*/ 37 h 403"/>
                <a:gd name="T90" fmla="*/ 46 w 539"/>
                <a:gd name="T91" fmla="*/ 41 h 403"/>
                <a:gd name="T92" fmla="*/ 72 w 539"/>
                <a:gd name="T93" fmla="*/ 43 h 403"/>
                <a:gd name="T94" fmla="*/ 102 w 539"/>
                <a:gd name="T95" fmla="*/ 57 h 403"/>
                <a:gd name="T96" fmla="*/ 118 w 539"/>
                <a:gd name="T97" fmla="*/ 64 h 403"/>
                <a:gd name="T98" fmla="*/ 134 w 539"/>
                <a:gd name="T99" fmla="*/ 70 h 403"/>
                <a:gd name="T100" fmla="*/ 148 w 539"/>
                <a:gd name="T101" fmla="*/ 76 h 403"/>
                <a:gd name="T102" fmla="*/ 156 w 539"/>
                <a:gd name="T103" fmla="*/ 81 h 403"/>
                <a:gd name="T104" fmla="*/ 171 w 539"/>
                <a:gd name="T105" fmla="*/ 88 h 403"/>
                <a:gd name="T106" fmla="*/ 192 w 539"/>
                <a:gd name="T107" fmla="*/ 94 h 403"/>
                <a:gd name="T108" fmla="*/ 180 w 539"/>
                <a:gd name="T109" fmla="*/ 45 h 403"/>
                <a:gd name="T110" fmla="*/ 207 w 539"/>
                <a:gd name="T111" fmla="*/ 5 h 403"/>
                <a:gd name="T112" fmla="*/ 241 w 539"/>
                <a:gd name="T113" fmla="*/ 0 h 403"/>
                <a:gd name="T114" fmla="*/ 319 w 539"/>
                <a:gd name="T115" fmla="*/ 30 h 403"/>
                <a:gd name="T116" fmla="*/ 375 w 539"/>
                <a:gd name="T117" fmla="*/ 76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9" h="403">
                  <a:moveTo>
                    <a:pt x="375" y="76"/>
                  </a:moveTo>
                  <a:lnTo>
                    <a:pt x="373" y="83"/>
                  </a:lnTo>
                  <a:lnTo>
                    <a:pt x="378" y="91"/>
                  </a:lnTo>
                  <a:lnTo>
                    <a:pt x="389" y="92"/>
                  </a:lnTo>
                  <a:lnTo>
                    <a:pt x="412" y="81"/>
                  </a:lnTo>
                  <a:lnTo>
                    <a:pt x="425" y="68"/>
                  </a:lnTo>
                  <a:lnTo>
                    <a:pt x="437" y="67"/>
                  </a:lnTo>
                  <a:lnTo>
                    <a:pt x="445" y="72"/>
                  </a:lnTo>
                  <a:lnTo>
                    <a:pt x="466" y="88"/>
                  </a:lnTo>
                  <a:lnTo>
                    <a:pt x="487" y="108"/>
                  </a:lnTo>
                  <a:lnTo>
                    <a:pt x="488" y="113"/>
                  </a:lnTo>
                  <a:lnTo>
                    <a:pt x="539" y="158"/>
                  </a:lnTo>
                  <a:lnTo>
                    <a:pt x="538" y="191"/>
                  </a:lnTo>
                  <a:lnTo>
                    <a:pt x="496" y="274"/>
                  </a:lnTo>
                  <a:lnTo>
                    <a:pt x="487" y="301"/>
                  </a:lnTo>
                  <a:lnTo>
                    <a:pt x="480" y="311"/>
                  </a:lnTo>
                  <a:lnTo>
                    <a:pt x="472" y="356"/>
                  </a:lnTo>
                  <a:lnTo>
                    <a:pt x="469" y="380"/>
                  </a:lnTo>
                  <a:lnTo>
                    <a:pt x="471" y="386"/>
                  </a:lnTo>
                  <a:lnTo>
                    <a:pt x="468" y="388"/>
                  </a:lnTo>
                  <a:lnTo>
                    <a:pt x="458" y="384"/>
                  </a:lnTo>
                  <a:lnTo>
                    <a:pt x="455" y="397"/>
                  </a:lnTo>
                  <a:lnTo>
                    <a:pt x="442" y="403"/>
                  </a:lnTo>
                  <a:lnTo>
                    <a:pt x="429" y="402"/>
                  </a:lnTo>
                  <a:lnTo>
                    <a:pt x="433" y="386"/>
                  </a:lnTo>
                  <a:lnTo>
                    <a:pt x="431" y="380"/>
                  </a:lnTo>
                  <a:lnTo>
                    <a:pt x="405" y="356"/>
                  </a:lnTo>
                  <a:lnTo>
                    <a:pt x="394" y="332"/>
                  </a:lnTo>
                  <a:lnTo>
                    <a:pt x="380" y="336"/>
                  </a:lnTo>
                  <a:lnTo>
                    <a:pt x="346" y="356"/>
                  </a:lnTo>
                  <a:lnTo>
                    <a:pt x="342" y="356"/>
                  </a:lnTo>
                  <a:lnTo>
                    <a:pt x="335" y="346"/>
                  </a:lnTo>
                  <a:lnTo>
                    <a:pt x="327" y="344"/>
                  </a:lnTo>
                  <a:lnTo>
                    <a:pt x="319" y="346"/>
                  </a:lnTo>
                  <a:lnTo>
                    <a:pt x="318" y="341"/>
                  </a:lnTo>
                  <a:lnTo>
                    <a:pt x="314" y="343"/>
                  </a:lnTo>
                  <a:lnTo>
                    <a:pt x="319" y="330"/>
                  </a:lnTo>
                  <a:lnTo>
                    <a:pt x="316" y="322"/>
                  </a:lnTo>
                  <a:lnTo>
                    <a:pt x="252" y="287"/>
                  </a:lnTo>
                  <a:lnTo>
                    <a:pt x="228" y="277"/>
                  </a:lnTo>
                  <a:lnTo>
                    <a:pt x="225" y="279"/>
                  </a:lnTo>
                  <a:lnTo>
                    <a:pt x="227" y="287"/>
                  </a:lnTo>
                  <a:lnTo>
                    <a:pt x="223" y="289"/>
                  </a:lnTo>
                  <a:lnTo>
                    <a:pt x="227" y="297"/>
                  </a:lnTo>
                  <a:lnTo>
                    <a:pt x="225" y="295"/>
                  </a:lnTo>
                  <a:lnTo>
                    <a:pt x="223" y="301"/>
                  </a:lnTo>
                  <a:lnTo>
                    <a:pt x="156" y="327"/>
                  </a:lnTo>
                  <a:lnTo>
                    <a:pt x="145" y="333"/>
                  </a:lnTo>
                  <a:lnTo>
                    <a:pt x="140" y="322"/>
                  </a:lnTo>
                  <a:lnTo>
                    <a:pt x="134" y="321"/>
                  </a:lnTo>
                  <a:lnTo>
                    <a:pt x="132" y="316"/>
                  </a:lnTo>
                  <a:lnTo>
                    <a:pt x="128" y="314"/>
                  </a:lnTo>
                  <a:lnTo>
                    <a:pt x="105" y="341"/>
                  </a:lnTo>
                  <a:lnTo>
                    <a:pt x="78" y="356"/>
                  </a:lnTo>
                  <a:lnTo>
                    <a:pt x="80" y="375"/>
                  </a:lnTo>
                  <a:lnTo>
                    <a:pt x="72" y="389"/>
                  </a:lnTo>
                  <a:lnTo>
                    <a:pt x="45" y="384"/>
                  </a:lnTo>
                  <a:lnTo>
                    <a:pt x="45" y="378"/>
                  </a:lnTo>
                  <a:lnTo>
                    <a:pt x="42" y="375"/>
                  </a:lnTo>
                  <a:lnTo>
                    <a:pt x="42" y="368"/>
                  </a:lnTo>
                  <a:lnTo>
                    <a:pt x="38" y="365"/>
                  </a:lnTo>
                  <a:lnTo>
                    <a:pt x="40" y="354"/>
                  </a:lnTo>
                  <a:lnTo>
                    <a:pt x="34" y="352"/>
                  </a:lnTo>
                  <a:lnTo>
                    <a:pt x="32" y="357"/>
                  </a:lnTo>
                  <a:lnTo>
                    <a:pt x="29" y="357"/>
                  </a:lnTo>
                  <a:lnTo>
                    <a:pt x="22" y="340"/>
                  </a:lnTo>
                  <a:lnTo>
                    <a:pt x="30" y="309"/>
                  </a:lnTo>
                  <a:lnTo>
                    <a:pt x="30" y="298"/>
                  </a:lnTo>
                  <a:lnTo>
                    <a:pt x="22" y="292"/>
                  </a:lnTo>
                  <a:lnTo>
                    <a:pt x="8" y="298"/>
                  </a:lnTo>
                  <a:lnTo>
                    <a:pt x="0" y="293"/>
                  </a:lnTo>
                  <a:lnTo>
                    <a:pt x="2" y="285"/>
                  </a:lnTo>
                  <a:lnTo>
                    <a:pt x="18" y="266"/>
                  </a:lnTo>
                  <a:lnTo>
                    <a:pt x="29" y="242"/>
                  </a:lnTo>
                  <a:lnTo>
                    <a:pt x="40" y="244"/>
                  </a:lnTo>
                  <a:lnTo>
                    <a:pt x="51" y="242"/>
                  </a:lnTo>
                  <a:lnTo>
                    <a:pt x="54" y="241"/>
                  </a:lnTo>
                  <a:lnTo>
                    <a:pt x="57" y="223"/>
                  </a:lnTo>
                  <a:lnTo>
                    <a:pt x="64" y="212"/>
                  </a:lnTo>
                  <a:lnTo>
                    <a:pt x="69" y="191"/>
                  </a:lnTo>
                  <a:lnTo>
                    <a:pt x="61" y="161"/>
                  </a:lnTo>
                  <a:lnTo>
                    <a:pt x="48" y="140"/>
                  </a:lnTo>
                  <a:lnTo>
                    <a:pt x="56" y="96"/>
                  </a:lnTo>
                  <a:lnTo>
                    <a:pt x="53" y="84"/>
                  </a:lnTo>
                  <a:lnTo>
                    <a:pt x="38" y="76"/>
                  </a:lnTo>
                  <a:lnTo>
                    <a:pt x="34" y="65"/>
                  </a:lnTo>
                  <a:lnTo>
                    <a:pt x="24" y="59"/>
                  </a:lnTo>
                  <a:lnTo>
                    <a:pt x="22" y="46"/>
                  </a:lnTo>
                  <a:lnTo>
                    <a:pt x="29" y="43"/>
                  </a:lnTo>
                  <a:lnTo>
                    <a:pt x="29" y="37"/>
                  </a:lnTo>
                  <a:lnTo>
                    <a:pt x="34" y="37"/>
                  </a:lnTo>
                  <a:lnTo>
                    <a:pt x="46" y="41"/>
                  </a:lnTo>
                  <a:lnTo>
                    <a:pt x="59" y="40"/>
                  </a:lnTo>
                  <a:lnTo>
                    <a:pt x="72" y="43"/>
                  </a:lnTo>
                  <a:lnTo>
                    <a:pt x="78" y="48"/>
                  </a:lnTo>
                  <a:lnTo>
                    <a:pt x="102" y="57"/>
                  </a:lnTo>
                  <a:lnTo>
                    <a:pt x="110" y="57"/>
                  </a:lnTo>
                  <a:lnTo>
                    <a:pt x="118" y="64"/>
                  </a:lnTo>
                  <a:lnTo>
                    <a:pt x="131" y="64"/>
                  </a:lnTo>
                  <a:lnTo>
                    <a:pt x="134" y="70"/>
                  </a:lnTo>
                  <a:lnTo>
                    <a:pt x="139" y="70"/>
                  </a:lnTo>
                  <a:lnTo>
                    <a:pt x="148" y="76"/>
                  </a:lnTo>
                  <a:lnTo>
                    <a:pt x="152" y="76"/>
                  </a:lnTo>
                  <a:lnTo>
                    <a:pt x="156" y="81"/>
                  </a:lnTo>
                  <a:lnTo>
                    <a:pt x="168" y="84"/>
                  </a:lnTo>
                  <a:lnTo>
                    <a:pt x="171" y="88"/>
                  </a:lnTo>
                  <a:lnTo>
                    <a:pt x="180" y="92"/>
                  </a:lnTo>
                  <a:lnTo>
                    <a:pt x="192" y="94"/>
                  </a:lnTo>
                  <a:lnTo>
                    <a:pt x="179" y="67"/>
                  </a:lnTo>
                  <a:lnTo>
                    <a:pt x="180" y="45"/>
                  </a:lnTo>
                  <a:lnTo>
                    <a:pt x="184" y="21"/>
                  </a:lnTo>
                  <a:lnTo>
                    <a:pt x="207" y="5"/>
                  </a:lnTo>
                  <a:lnTo>
                    <a:pt x="223" y="0"/>
                  </a:lnTo>
                  <a:lnTo>
                    <a:pt x="241" y="0"/>
                  </a:lnTo>
                  <a:lnTo>
                    <a:pt x="287" y="11"/>
                  </a:lnTo>
                  <a:lnTo>
                    <a:pt x="319" y="30"/>
                  </a:lnTo>
                  <a:lnTo>
                    <a:pt x="345" y="38"/>
                  </a:lnTo>
                  <a:lnTo>
                    <a:pt x="375" y="7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/>
            <a:lstStyle/>
            <a:p>
              <a:pPr algn="ctr"/>
              <a:endParaRPr lang="en-US" sz="800" dirty="0"/>
            </a:p>
          </p:txBody>
        </p:sp>
        <p:sp>
          <p:nvSpPr>
            <p:cNvPr id="30" name="Freeform 214">
              <a:extLst>
                <a:ext uri="{FF2B5EF4-FFF2-40B4-BE49-F238E27FC236}">
                  <a16:creationId xmlns:a16="http://schemas.microsoft.com/office/drawing/2014/main" id="{36416DB1-E93C-4336-9BA1-D311465BC6F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2663" y="5264150"/>
              <a:ext cx="376237" cy="436562"/>
            </a:xfrm>
            <a:custGeom>
              <a:avLst/>
              <a:gdLst>
                <a:gd name="T0" fmla="*/ 177 w 237"/>
                <a:gd name="T1" fmla="*/ 22 h 275"/>
                <a:gd name="T2" fmla="*/ 181 w 237"/>
                <a:gd name="T3" fmla="*/ 27 h 275"/>
                <a:gd name="T4" fmla="*/ 181 w 237"/>
                <a:gd name="T5" fmla="*/ 30 h 275"/>
                <a:gd name="T6" fmla="*/ 188 w 237"/>
                <a:gd name="T7" fmla="*/ 43 h 275"/>
                <a:gd name="T8" fmla="*/ 194 w 237"/>
                <a:gd name="T9" fmla="*/ 50 h 275"/>
                <a:gd name="T10" fmla="*/ 193 w 237"/>
                <a:gd name="T11" fmla="*/ 54 h 275"/>
                <a:gd name="T12" fmla="*/ 194 w 237"/>
                <a:gd name="T13" fmla="*/ 56 h 275"/>
                <a:gd name="T14" fmla="*/ 205 w 237"/>
                <a:gd name="T15" fmla="*/ 62 h 275"/>
                <a:gd name="T16" fmla="*/ 209 w 237"/>
                <a:gd name="T17" fmla="*/ 66 h 275"/>
                <a:gd name="T18" fmla="*/ 209 w 237"/>
                <a:gd name="T19" fmla="*/ 72 h 275"/>
                <a:gd name="T20" fmla="*/ 217 w 237"/>
                <a:gd name="T21" fmla="*/ 77 h 275"/>
                <a:gd name="T22" fmla="*/ 220 w 237"/>
                <a:gd name="T23" fmla="*/ 89 h 275"/>
                <a:gd name="T24" fmla="*/ 225 w 237"/>
                <a:gd name="T25" fmla="*/ 94 h 275"/>
                <a:gd name="T26" fmla="*/ 226 w 237"/>
                <a:gd name="T27" fmla="*/ 102 h 275"/>
                <a:gd name="T28" fmla="*/ 228 w 237"/>
                <a:gd name="T29" fmla="*/ 107 h 275"/>
                <a:gd name="T30" fmla="*/ 236 w 237"/>
                <a:gd name="T31" fmla="*/ 112 h 275"/>
                <a:gd name="T32" fmla="*/ 234 w 237"/>
                <a:gd name="T33" fmla="*/ 115 h 275"/>
                <a:gd name="T34" fmla="*/ 233 w 237"/>
                <a:gd name="T35" fmla="*/ 120 h 275"/>
                <a:gd name="T36" fmla="*/ 225 w 237"/>
                <a:gd name="T37" fmla="*/ 131 h 275"/>
                <a:gd name="T38" fmla="*/ 221 w 237"/>
                <a:gd name="T39" fmla="*/ 136 h 275"/>
                <a:gd name="T40" fmla="*/ 218 w 237"/>
                <a:gd name="T41" fmla="*/ 144 h 275"/>
                <a:gd name="T42" fmla="*/ 215 w 237"/>
                <a:gd name="T43" fmla="*/ 163 h 275"/>
                <a:gd name="T44" fmla="*/ 207 w 237"/>
                <a:gd name="T45" fmla="*/ 169 h 275"/>
                <a:gd name="T46" fmla="*/ 186 w 237"/>
                <a:gd name="T47" fmla="*/ 171 h 275"/>
                <a:gd name="T48" fmla="*/ 183 w 237"/>
                <a:gd name="T49" fmla="*/ 195 h 275"/>
                <a:gd name="T50" fmla="*/ 175 w 237"/>
                <a:gd name="T51" fmla="*/ 190 h 275"/>
                <a:gd name="T52" fmla="*/ 156 w 237"/>
                <a:gd name="T53" fmla="*/ 203 h 275"/>
                <a:gd name="T54" fmla="*/ 138 w 237"/>
                <a:gd name="T55" fmla="*/ 216 h 275"/>
                <a:gd name="T56" fmla="*/ 121 w 237"/>
                <a:gd name="T57" fmla="*/ 223 h 275"/>
                <a:gd name="T58" fmla="*/ 114 w 237"/>
                <a:gd name="T59" fmla="*/ 219 h 275"/>
                <a:gd name="T60" fmla="*/ 102 w 237"/>
                <a:gd name="T61" fmla="*/ 235 h 275"/>
                <a:gd name="T62" fmla="*/ 110 w 237"/>
                <a:gd name="T63" fmla="*/ 247 h 275"/>
                <a:gd name="T64" fmla="*/ 95 w 237"/>
                <a:gd name="T65" fmla="*/ 267 h 275"/>
                <a:gd name="T66" fmla="*/ 76 w 237"/>
                <a:gd name="T67" fmla="*/ 273 h 275"/>
                <a:gd name="T68" fmla="*/ 73 w 237"/>
                <a:gd name="T69" fmla="*/ 260 h 275"/>
                <a:gd name="T70" fmla="*/ 46 w 237"/>
                <a:gd name="T71" fmla="*/ 262 h 275"/>
                <a:gd name="T72" fmla="*/ 6 w 237"/>
                <a:gd name="T73" fmla="*/ 259 h 275"/>
                <a:gd name="T74" fmla="*/ 3 w 237"/>
                <a:gd name="T75" fmla="*/ 227 h 275"/>
                <a:gd name="T76" fmla="*/ 11 w 237"/>
                <a:gd name="T77" fmla="*/ 195 h 275"/>
                <a:gd name="T78" fmla="*/ 44 w 237"/>
                <a:gd name="T79" fmla="*/ 217 h 275"/>
                <a:gd name="T80" fmla="*/ 57 w 237"/>
                <a:gd name="T81" fmla="*/ 208 h 275"/>
                <a:gd name="T82" fmla="*/ 62 w 237"/>
                <a:gd name="T83" fmla="*/ 201 h 275"/>
                <a:gd name="T84" fmla="*/ 47 w 237"/>
                <a:gd name="T85" fmla="*/ 188 h 275"/>
                <a:gd name="T86" fmla="*/ 55 w 237"/>
                <a:gd name="T87" fmla="*/ 174 h 275"/>
                <a:gd name="T88" fmla="*/ 57 w 237"/>
                <a:gd name="T89" fmla="*/ 150 h 275"/>
                <a:gd name="T90" fmla="*/ 62 w 237"/>
                <a:gd name="T91" fmla="*/ 112 h 275"/>
                <a:gd name="T92" fmla="*/ 59 w 237"/>
                <a:gd name="T93" fmla="*/ 61 h 275"/>
                <a:gd name="T94" fmla="*/ 78 w 237"/>
                <a:gd name="T95" fmla="*/ 64 h 275"/>
                <a:gd name="T96" fmla="*/ 105 w 237"/>
                <a:gd name="T97" fmla="*/ 75 h 275"/>
                <a:gd name="T98" fmla="*/ 111 w 237"/>
                <a:gd name="T99" fmla="*/ 42 h 275"/>
                <a:gd name="T100" fmla="*/ 153 w 237"/>
                <a:gd name="T101" fmla="*/ 13 h 275"/>
                <a:gd name="T102" fmla="*/ 161 w 237"/>
                <a:gd name="T103" fmla="*/ 0 h 275"/>
                <a:gd name="T104" fmla="*/ 173 w 237"/>
                <a:gd name="T105" fmla="*/ 8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37" h="275">
                  <a:moveTo>
                    <a:pt x="178" y="19"/>
                  </a:moveTo>
                  <a:lnTo>
                    <a:pt x="177" y="22"/>
                  </a:lnTo>
                  <a:lnTo>
                    <a:pt x="180" y="24"/>
                  </a:lnTo>
                  <a:lnTo>
                    <a:pt x="181" y="27"/>
                  </a:lnTo>
                  <a:lnTo>
                    <a:pt x="183" y="27"/>
                  </a:lnTo>
                  <a:lnTo>
                    <a:pt x="181" y="30"/>
                  </a:lnTo>
                  <a:lnTo>
                    <a:pt x="189" y="38"/>
                  </a:lnTo>
                  <a:lnTo>
                    <a:pt x="188" y="43"/>
                  </a:lnTo>
                  <a:lnTo>
                    <a:pt x="193" y="46"/>
                  </a:lnTo>
                  <a:lnTo>
                    <a:pt x="194" y="50"/>
                  </a:lnTo>
                  <a:lnTo>
                    <a:pt x="189" y="51"/>
                  </a:lnTo>
                  <a:lnTo>
                    <a:pt x="193" y="54"/>
                  </a:lnTo>
                  <a:lnTo>
                    <a:pt x="193" y="58"/>
                  </a:lnTo>
                  <a:lnTo>
                    <a:pt x="194" y="56"/>
                  </a:lnTo>
                  <a:lnTo>
                    <a:pt x="202" y="64"/>
                  </a:lnTo>
                  <a:lnTo>
                    <a:pt x="205" y="62"/>
                  </a:lnTo>
                  <a:lnTo>
                    <a:pt x="204" y="66"/>
                  </a:lnTo>
                  <a:lnTo>
                    <a:pt x="209" y="66"/>
                  </a:lnTo>
                  <a:lnTo>
                    <a:pt x="210" y="69"/>
                  </a:lnTo>
                  <a:lnTo>
                    <a:pt x="209" y="72"/>
                  </a:lnTo>
                  <a:lnTo>
                    <a:pt x="215" y="74"/>
                  </a:lnTo>
                  <a:lnTo>
                    <a:pt x="217" y="77"/>
                  </a:lnTo>
                  <a:lnTo>
                    <a:pt x="212" y="80"/>
                  </a:lnTo>
                  <a:lnTo>
                    <a:pt x="220" y="89"/>
                  </a:lnTo>
                  <a:lnTo>
                    <a:pt x="218" y="93"/>
                  </a:lnTo>
                  <a:lnTo>
                    <a:pt x="225" y="94"/>
                  </a:lnTo>
                  <a:lnTo>
                    <a:pt x="221" y="104"/>
                  </a:lnTo>
                  <a:lnTo>
                    <a:pt x="226" y="102"/>
                  </a:lnTo>
                  <a:lnTo>
                    <a:pt x="226" y="105"/>
                  </a:lnTo>
                  <a:lnTo>
                    <a:pt x="228" y="107"/>
                  </a:lnTo>
                  <a:lnTo>
                    <a:pt x="233" y="104"/>
                  </a:lnTo>
                  <a:lnTo>
                    <a:pt x="236" y="112"/>
                  </a:lnTo>
                  <a:lnTo>
                    <a:pt x="237" y="112"/>
                  </a:lnTo>
                  <a:lnTo>
                    <a:pt x="234" y="115"/>
                  </a:lnTo>
                  <a:lnTo>
                    <a:pt x="237" y="120"/>
                  </a:lnTo>
                  <a:lnTo>
                    <a:pt x="233" y="120"/>
                  </a:lnTo>
                  <a:lnTo>
                    <a:pt x="231" y="128"/>
                  </a:lnTo>
                  <a:lnTo>
                    <a:pt x="225" y="131"/>
                  </a:lnTo>
                  <a:lnTo>
                    <a:pt x="229" y="134"/>
                  </a:lnTo>
                  <a:lnTo>
                    <a:pt x="221" y="136"/>
                  </a:lnTo>
                  <a:lnTo>
                    <a:pt x="221" y="141"/>
                  </a:lnTo>
                  <a:lnTo>
                    <a:pt x="218" y="144"/>
                  </a:lnTo>
                  <a:lnTo>
                    <a:pt x="223" y="156"/>
                  </a:lnTo>
                  <a:lnTo>
                    <a:pt x="215" y="163"/>
                  </a:lnTo>
                  <a:lnTo>
                    <a:pt x="210" y="163"/>
                  </a:lnTo>
                  <a:lnTo>
                    <a:pt x="207" y="169"/>
                  </a:lnTo>
                  <a:lnTo>
                    <a:pt x="202" y="172"/>
                  </a:lnTo>
                  <a:lnTo>
                    <a:pt x="186" y="171"/>
                  </a:lnTo>
                  <a:lnTo>
                    <a:pt x="188" y="179"/>
                  </a:lnTo>
                  <a:lnTo>
                    <a:pt x="183" y="195"/>
                  </a:lnTo>
                  <a:lnTo>
                    <a:pt x="180" y="196"/>
                  </a:lnTo>
                  <a:lnTo>
                    <a:pt x="175" y="190"/>
                  </a:lnTo>
                  <a:lnTo>
                    <a:pt x="167" y="192"/>
                  </a:lnTo>
                  <a:lnTo>
                    <a:pt x="156" y="203"/>
                  </a:lnTo>
                  <a:lnTo>
                    <a:pt x="143" y="211"/>
                  </a:lnTo>
                  <a:lnTo>
                    <a:pt x="138" y="216"/>
                  </a:lnTo>
                  <a:lnTo>
                    <a:pt x="132" y="217"/>
                  </a:lnTo>
                  <a:lnTo>
                    <a:pt x="121" y="223"/>
                  </a:lnTo>
                  <a:lnTo>
                    <a:pt x="118" y="219"/>
                  </a:lnTo>
                  <a:lnTo>
                    <a:pt x="114" y="219"/>
                  </a:lnTo>
                  <a:lnTo>
                    <a:pt x="108" y="231"/>
                  </a:lnTo>
                  <a:lnTo>
                    <a:pt x="102" y="235"/>
                  </a:lnTo>
                  <a:lnTo>
                    <a:pt x="103" y="239"/>
                  </a:lnTo>
                  <a:lnTo>
                    <a:pt x="110" y="247"/>
                  </a:lnTo>
                  <a:lnTo>
                    <a:pt x="105" y="257"/>
                  </a:lnTo>
                  <a:lnTo>
                    <a:pt x="95" y="267"/>
                  </a:lnTo>
                  <a:lnTo>
                    <a:pt x="98" y="275"/>
                  </a:lnTo>
                  <a:lnTo>
                    <a:pt x="76" y="273"/>
                  </a:lnTo>
                  <a:lnTo>
                    <a:pt x="76" y="257"/>
                  </a:lnTo>
                  <a:lnTo>
                    <a:pt x="73" y="260"/>
                  </a:lnTo>
                  <a:lnTo>
                    <a:pt x="63" y="259"/>
                  </a:lnTo>
                  <a:lnTo>
                    <a:pt x="46" y="262"/>
                  </a:lnTo>
                  <a:lnTo>
                    <a:pt x="12" y="257"/>
                  </a:lnTo>
                  <a:lnTo>
                    <a:pt x="6" y="259"/>
                  </a:lnTo>
                  <a:lnTo>
                    <a:pt x="1" y="257"/>
                  </a:lnTo>
                  <a:lnTo>
                    <a:pt x="3" y="227"/>
                  </a:lnTo>
                  <a:lnTo>
                    <a:pt x="0" y="196"/>
                  </a:lnTo>
                  <a:lnTo>
                    <a:pt x="11" y="195"/>
                  </a:lnTo>
                  <a:lnTo>
                    <a:pt x="28" y="209"/>
                  </a:lnTo>
                  <a:lnTo>
                    <a:pt x="44" y="217"/>
                  </a:lnTo>
                  <a:lnTo>
                    <a:pt x="51" y="217"/>
                  </a:lnTo>
                  <a:lnTo>
                    <a:pt x="57" y="208"/>
                  </a:lnTo>
                  <a:lnTo>
                    <a:pt x="65" y="204"/>
                  </a:lnTo>
                  <a:lnTo>
                    <a:pt x="62" y="201"/>
                  </a:lnTo>
                  <a:lnTo>
                    <a:pt x="55" y="200"/>
                  </a:lnTo>
                  <a:lnTo>
                    <a:pt x="47" y="188"/>
                  </a:lnTo>
                  <a:lnTo>
                    <a:pt x="51" y="176"/>
                  </a:lnTo>
                  <a:lnTo>
                    <a:pt x="55" y="174"/>
                  </a:lnTo>
                  <a:lnTo>
                    <a:pt x="52" y="171"/>
                  </a:lnTo>
                  <a:lnTo>
                    <a:pt x="57" y="150"/>
                  </a:lnTo>
                  <a:lnTo>
                    <a:pt x="54" y="141"/>
                  </a:lnTo>
                  <a:lnTo>
                    <a:pt x="62" y="112"/>
                  </a:lnTo>
                  <a:lnTo>
                    <a:pt x="63" y="93"/>
                  </a:lnTo>
                  <a:lnTo>
                    <a:pt x="59" y="61"/>
                  </a:lnTo>
                  <a:lnTo>
                    <a:pt x="71" y="61"/>
                  </a:lnTo>
                  <a:lnTo>
                    <a:pt x="78" y="64"/>
                  </a:lnTo>
                  <a:lnTo>
                    <a:pt x="78" y="70"/>
                  </a:lnTo>
                  <a:lnTo>
                    <a:pt x="105" y="75"/>
                  </a:lnTo>
                  <a:lnTo>
                    <a:pt x="113" y="61"/>
                  </a:lnTo>
                  <a:lnTo>
                    <a:pt x="111" y="42"/>
                  </a:lnTo>
                  <a:lnTo>
                    <a:pt x="138" y="27"/>
                  </a:lnTo>
                  <a:lnTo>
                    <a:pt x="153" y="13"/>
                  </a:lnTo>
                  <a:lnTo>
                    <a:pt x="159" y="2"/>
                  </a:lnTo>
                  <a:lnTo>
                    <a:pt x="161" y="0"/>
                  </a:lnTo>
                  <a:lnTo>
                    <a:pt x="167" y="7"/>
                  </a:lnTo>
                  <a:lnTo>
                    <a:pt x="173" y="8"/>
                  </a:lnTo>
                  <a:lnTo>
                    <a:pt x="178" y="1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/>
            <a:lstStyle/>
            <a:p>
              <a:pPr algn="ctr"/>
              <a:endParaRPr lang="en-US" sz="800" dirty="0">
                <a:solidFill>
                  <a:srgbClr val="000000"/>
                </a:solidFill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38C8C23D-7E0A-45CE-AE48-B36ABDB12563}"/>
                </a:ext>
              </a:extLst>
            </p:cNvPr>
            <p:cNvGrpSpPr/>
            <p:nvPr/>
          </p:nvGrpSpPr>
          <p:grpSpPr>
            <a:xfrm>
              <a:off x="5638800" y="5702300"/>
              <a:ext cx="458787" cy="498475"/>
              <a:chOff x="5638800" y="5702300"/>
              <a:chExt cx="458787" cy="498475"/>
            </a:xfrm>
            <a:grpFill/>
          </p:grpSpPr>
          <p:sp>
            <p:nvSpPr>
              <p:cNvPr id="51" name="Freeform 216">
                <a:extLst>
                  <a:ext uri="{FF2B5EF4-FFF2-40B4-BE49-F238E27FC236}">
                    <a16:creationId xmlns:a16="http://schemas.microsoft.com/office/drawing/2014/main" id="{B96A7F0F-8FB3-4984-A1D5-B8E43CC25A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38800" y="5702300"/>
                <a:ext cx="458787" cy="498475"/>
              </a:xfrm>
              <a:custGeom>
                <a:avLst/>
                <a:gdLst>
                  <a:gd name="T0" fmla="*/ 164 w 289"/>
                  <a:gd name="T1" fmla="*/ 273 h 314"/>
                  <a:gd name="T2" fmla="*/ 228 w 289"/>
                  <a:gd name="T3" fmla="*/ 283 h 314"/>
                  <a:gd name="T4" fmla="*/ 241 w 289"/>
                  <a:gd name="T5" fmla="*/ 270 h 314"/>
                  <a:gd name="T6" fmla="*/ 279 w 289"/>
                  <a:gd name="T7" fmla="*/ 273 h 314"/>
                  <a:gd name="T8" fmla="*/ 65 w 289"/>
                  <a:gd name="T9" fmla="*/ 313 h 314"/>
                  <a:gd name="T10" fmla="*/ 56 w 289"/>
                  <a:gd name="T11" fmla="*/ 305 h 314"/>
                  <a:gd name="T12" fmla="*/ 46 w 289"/>
                  <a:gd name="T13" fmla="*/ 241 h 314"/>
                  <a:gd name="T14" fmla="*/ 42 w 289"/>
                  <a:gd name="T15" fmla="*/ 263 h 314"/>
                  <a:gd name="T16" fmla="*/ 37 w 289"/>
                  <a:gd name="T17" fmla="*/ 265 h 314"/>
                  <a:gd name="T18" fmla="*/ 35 w 289"/>
                  <a:gd name="T19" fmla="*/ 276 h 314"/>
                  <a:gd name="T20" fmla="*/ 5 w 289"/>
                  <a:gd name="T21" fmla="*/ 214 h 314"/>
                  <a:gd name="T22" fmla="*/ 14 w 289"/>
                  <a:gd name="T23" fmla="*/ 174 h 314"/>
                  <a:gd name="T24" fmla="*/ 22 w 289"/>
                  <a:gd name="T25" fmla="*/ 141 h 314"/>
                  <a:gd name="T26" fmla="*/ 35 w 289"/>
                  <a:gd name="T27" fmla="*/ 74 h 314"/>
                  <a:gd name="T28" fmla="*/ 64 w 289"/>
                  <a:gd name="T29" fmla="*/ 5 h 314"/>
                  <a:gd name="T30" fmla="*/ 96 w 289"/>
                  <a:gd name="T31" fmla="*/ 67 h 314"/>
                  <a:gd name="T32" fmla="*/ 195 w 289"/>
                  <a:gd name="T33" fmla="*/ 147 h 314"/>
                  <a:gd name="T34" fmla="*/ 211 w 289"/>
                  <a:gd name="T35" fmla="*/ 188 h 314"/>
                  <a:gd name="T36" fmla="*/ 271 w 289"/>
                  <a:gd name="T37" fmla="*/ 201 h 314"/>
                  <a:gd name="T38" fmla="*/ 275 w 289"/>
                  <a:gd name="T39" fmla="*/ 255 h 314"/>
                  <a:gd name="T40" fmla="*/ 254 w 289"/>
                  <a:gd name="T41" fmla="*/ 262 h 314"/>
                  <a:gd name="T42" fmla="*/ 236 w 289"/>
                  <a:gd name="T43" fmla="*/ 254 h 314"/>
                  <a:gd name="T44" fmla="*/ 214 w 289"/>
                  <a:gd name="T45" fmla="*/ 246 h 314"/>
                  <a:gd name="T46" fmla="*/ 220 w 289"/>
                  <a:gd name="T47" fmla="*/ 270 h 314"/>
                  <a:gd name="T48" fmla="*/ 211 w 289"/>
                  <a:gd name="T49" fmla="*/ 260 h 314"/>
                  <a:gd name="T50" fmla="*/ 198 w 289"/>
                  <a:gd name="T51" fmla="*/ 244 h 314"/>
                  <a:gd name="T52" fmla="*/ 204 w 289"/>
                  <a:gd name="T53" fmla="*/ 227 h 314"/>
                  <a:gd name="T54" fmla="*/ 198 w 289"/>
                  <a:gd name="T55" fmla="*/ 222 h 314"/>
                  <a:gd name="T56" fmla="*/ 188 w 289"/>
                  <a:gd name="T57" fmla="*/ 225 h 314"/>
                  <a:gd name="T58" fmla="*/ 180 w 289"/>
                  <a:gd name="T59" fmla="*/ 225 h 314"/>
                  <a:gd name="T60" fmla="*/ 171 w 289"/>
                  <a:gd name="T61" fmla="*/ 219 h 314"/>
                  <a:gd name="T62" fmla="*/ 171 w 289"/>
                  <a:gd name="T63" fmla="*/ 196 h 314"/>
                  <a:gd name="T64" fmla="*/ 158 w 289"/>
                  <a:gd name="T65" fmla="*/ 208 h 314"/>
                  <a:gd name="T66" fmla="*/ 160 w 289"/>
                  <a:gd name="T67" fmla="*/ 211 h 314"/>
                  <a:gd name="T68" fmla="*/ 153 w 289"/>
                  <a:gd name="T69" fmla="*/ 206 h 314"/>
                  <a:gd name="T70" fmla="*/ 139 w 289"/>
                  <a:gd name="T71" fmla="*/ 208 h 314"/>
                  <a:gd name="T72" fmla="*/ 134 w 289"/>
                  <a:gd name="T73" fmla="*/ 196 h 314"/>
                  <a:gd name="T74" fmla="*/ 102 w 289"/>
                  <a:gd name="T75" fmla="*/ 196 h 314"/>
                  <a:gd name="T76" fmla="*/ 91 w 289"/>
                  <a:gd name="T77" fmla="*/ 195 h 314"/>
                  <a:gd name="T78" fmla="*/ 81 w 289"/>
                  <a:gd name="T79" fmla="*/ 198 h 314"/>
                  <a:gd name="T80" fmla="*/ 94 w 289"/>
                  <a:gd name="T81" fmla="*/ 211 h 314"/>
                  <a:gd name="T82" fmla="*/ 102 w 289"/>
                  <a:gd name="T83" fmla="*/ 252 h 314"/>
                  <a:gd name="T84" fmla="*/ 85 w 289"/>
                  <a:gd name="T85" fmla="*/ 303 h 314"/>
                  <a:gd name="T86" fmla="*/ 97 w 289"/>
                  <a:gd name="T87" fmla="*/ 281 h 314"/>
                  <a:gd name="T88" fmla="*/ 80 w 289"/>
                  <a:gd name="T89" fmla="*/ 271 h 314"/>
                  <a:gd name="T90" fmla="*/ 96 w 289"/>
                  <a:gd name="T91" fmla="*/ 238 h 314"/>
                  <a:gd name="T92" fmla="*/ 86 w 289"/>
                  <a:gd name="T93" fmla="*/ 244 h 314"/>
                  <a:gd name="T94" fmla="*/ 85 w 289"/>
                  <a:gd name="T95" fmla="*/ 244 h 314"/>
                  <a:gd name="T96" fmla="*/ 67 w 289"/>
                  <a:gd name="T97" fmla="*/ 246 h 314"/>
                  <a:gd name="T98" fmla="*/ 61 w 289"/>
                  <a:gd name="T99" fmla="*/ 230 h 314"/>
                  <a:gd name="T100" fmla="*/ 59 w 289"/>
                  <a:gd name="T101" fmla="*/ 198 h 314"/>
                  <a:gd name="T102" fmla="*/ 49 w 289"/>
                  <a:gd name="T103" fmla="*/ 209 h 314"/>
                  <a:gd name="T104" fmla="*/ 51 w 289"/>
                  <a:gd name="T105" fmla="*/ 251 h 314"/>
                  <a:gd name="T106" fmla="*/ 73 w 289"/>
                  <a:gd name="T107" fmla="*/ 286 h 314"/>
                  <a:gd name="T108" fmla="*/ 80 w 289"/>
                  <a:gd name="T109" fmla="*/ 298 h 314"/>
                  <a:gd name="T110" fmla="*/ 51 w 289"/>
                  <a:gd name="T111" fmla="*/ 174 h 314"/>
                  <a:gd name="T112" fmla="*/ 21 w 289"/>
                  <a:gd name="T113" fmla="*/ 306 h 314"/>
                  <a:gd name="T114" fmla="*/ 27 w 289"/>
                  <a:gd name="T115" fmla="*/ 279 h 314"/>
                  <a:gd name="T116" fmla="*/ 40 w 289"/>
                  <a:gd name="T117" fmla="*/ 286 h 314"/>
                  <a:gd name="T118" fmla="*/ 32 w 289"/>
                  <a:gd name="T119" fmla="*/ 308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89" h="314">
                    <a:moveTo>
                      <a:pt x="160" y="286"/>
                    </a:moveTo>
                    <a:lnTo>
                      <a:pt x="156" y="284"/>
                    </a:lnTo>
                    <a:lnTo>
                      <a:pt x="155" y="278"/>
                    </a:lnTo>
                    <a:lnTo>
                      <a:pt x="150" y="247"/>
                    </a:lnTo>
                    <a:lnTo>
                      <a:pt x="161" y="252"/>
                    </a:lnTo>
                    <a:lnTo>
                      <a:pt x="163" y="263"/>
                    </a:lnTo>
                    <a:lnTo>
                      <a:pt x="168" y="270"/>
                    </a:lnTo>
                    <a:lnTo>
                      <a:pt x="164" y="273"/>
                    </a:lnTo>
                    <a:lnTo>
                      <a:pt x="163" y="268"/>
                    </a:lnTo>
                    <a:lnTo>
                      <a:pt x="161" y="268"/>
                    </a:lnTo>
                    <a:lnTo>
                      <a:pt x="163" y="270"/>
                    </a:lnTo>
                    <a:lnTo>
                      <a:pt x="164" y="278"/>
                    </a:lnTo>
                    <a:lnTo>
                      <a:pt x="169" y="283"/>
                    </a:lnTo>
                    <a:lnTo>
                      <a:pt x="160" y="286"/>
                    </a:lnTo>
                    <a:close/>
                    <a:moveTo>
                      <a:pt x="249" y="286"/>
                    </a:moveTo>
                    <a:lnTo>
                      <a:pt x="228" y="283"/>
                    </a:lnTo>
                    <a:lnTo>
                      <a:pt x="231" y="275"/>
                    </a:lnTo>
                    <a:lnTo>
                      <a:pt x="231" y="276"/>
                    </a:lnTo>
                    <a:lnTo>
                      <a:pt x="235" y="275"/>
                    </a:lnTo>
                    <a:lnTo>
                      <a:pt x="238" y="276"/>
                    </a:lnTo>
                    <a:lnTo>
                      <a:pt x="239" y="275"/>
                    </a:lnTo>
                    <a:lnTo>
                      <a:pt x="233" y="276"/>
                    </a:lnTo>
                    <a:lnTo>
                      <a:pt x="233" y="273"/>
                    </a:lnTo>
                    <a:lnTo>
                      <a:pt x="241" y="270"/>
                    </a:lnTo>
                    <a:lnTo>
                      <a:pt x="247" y="275"/>
                    </a:lnTo>
                    <a:lnTo>
                      <a:pt x="254" y="273"/>
                    </a:lnTo>
                    <a:lnTo>
                      <a:pt x="252" y="276"/>
                    </a:lnTo>
                    <a:lnTo>
                      <a:pt x="254" y="273"/>
                    </a:lnTo>
                    <a:lnTo>
                      <a:pt x="262" y="276"/>
                    </a:lnTo>
                    <a:lnTo>
                      <a:pt x="265" y="275"/>
                    </a:lnTo>
                    <a:lnTo>
                      <a:pt x="275" y="276"/>
                    </a:lnTo>
                    <a:lnTo>
                      <a:pt x="279" y="273"/>
                    </a:lnTo>
                    <a:lnTo>
                      <a:pt x="278" y="276"/>
                    </a:lnTo>
                    <a:lnTo>
                      <a:pt x="281" y="276"/>
                    </a:lnTo>
                    <a:lnTo>
                      <a:pt x="281" y="273"/>
                    </a:lnTo>
                    <a:lnTo>
                      <a:pt x="289" y="273"/>
                    </a:lnTo>
                    <a:lnTo>
                      <a:pt x="287" y="283"/>
                    </a:lnTo>
                    <a:lnTo>
                      <a:pt x="270" y="283"/>
                    </a:lnTo>
                    <a:lnTo>
                      <a:pt x="249" y="286"/>
                    </a:lnTo>
                    <a:close/>
                    <a:moveTo>
                      <a:pt x="65" y="313"/>
                    </a:moveTo>
                    <a:lnTo>
                      <a:pt x="57" y="306"/>
                    </a:lnTo>
                    <a:lnTo>
                      <a:pt x="57" y="305"/>
                    </a:lnTo>
                    <a:lnTo>
                      <a:pt x="65" y="308"/>
                    </a:lnTo>
                    <a:lnTo>
                      <a:pt x="72" y="303"/>
                    </a:lnTo>
                    <a:lnTo>
                      <a:pt x="65" y="308"/>
                    </a:lnTo>
                    <a:lnTo>
                      <a:pt x="61" y="306"/>
                    </a:lnTo>
                    <a:lnTo>
                      <a:pt x="61" y="305"/>
                    </a:lnTo>
                    <a:lnTo>
                      <a:pt x="56" y="305"/>
                    </a:lnTo>
                    <a:lnTo>
                      <a:pt x="59" y="279"/>
                    </a:lnTo>
                    <a:lnTo>
                      <a:pt x="53" y="271"/>
                    </a:lnTo>
                    <a:lnTo>
                      <a:pt x="45" y="268"/>
                    </a:lnTo>
                    <a:lnTo>
                      <a:pt x="49" y="260"/>
                    </a:lnTo>
                    <a:lnTo>
                      <a:pt x="43" y="254"/>
                    </a:lnTo>
                    <a:lnTo>
                      <a:pt x="45" y="252"/>
                    </a:lnTo>
                    <a:lnTo>
                      <a:pt x="43" y="244"/>
                    </a:lnTo>
                    <a:lnTo>
                      <a:pt x="46" y="241"/>
                    </a:lnTo>
                    <a:lnTo>
                      <a:pt x="46" y="235"/>
                    </a:lnTo>
                    <a:lnTo>
                      <a:pt x="46" y="241"/>
                    </a:lnTo>
                    <a:lnTo>
                      <a:pt x="42" y="247"/>
                    </a:lnTo>
                    <a:lnTo>
                      <a:pt x="45" y="252"/>
                    </a:lnTo>
                    <a:lnTo>
                      <a:pt x="43" y="255"/>
                    </a:lnTo>
                    <a:lnTo>
                      <a:pt x="49" y="260"/>
                    </a:lnTo>
                    <a:lnTo>
                      <a:pt x="46" y="263"/>
                    </a:lnTo>
                    <a:lnTo>
                      <a:pt x="42" y="263"/>
                    </a:lnTo>
                    <a:lnTo>
                      <a:pt x="40" y="259"/>
                    </a:lnTo>
                    <a:lnTo>
                      <a:pt x="42" y="257"/>
                    </a:lnTo>
                    <a:lnTo>
                      <a:pt x="40" y="255"/>
                    </a:lnTo>
                    <a:lnTo>
                      <a:pt x="42" y="257"/>
                    </a:lnTo>
                    <a:lnTo>
                      <a:pt x="40" y="259"/>
                    </a:lnTo>
                    <a:lnTo>
                      <a:pt x="42" y="260"/>
                    </a:lnTo>
                    <a:lnTo>
                      <a:pt x="40" y="265"/>
                    </a:lnTo>
                    <a:lnTo>
                      <a:pt x="37" y="265"/>
                    </a:lnTo>
                    <a:lnTo>
                      <a:pt x="43" y="263"/>
                    </a:lnTo>
                    <a:lnTo>
                      <a:pt x="43" y="268"/>
                    </a:lnTo>
                    <a:lnTo>
                      <a:pt x="53" y="273"/>
                    </a:lnTo>
                    <a:lnTo>
                      <a:pt x="53" y="278"/>
                    </a:lnTo>
                    <a:lnTo>
                      <a:pt x="48" y="279"/>
                    </a:lnTo>
                    <a:lnTo>
                      <a:pt x="45" y="276"/>
                    </a:lnTo>
                    <a:lnTo>
                      <a:pt x="43" y="278"/>
                    </a:lnTo>
                    <a:lnTo>
                      <a:pt x="35" y="276"/>
                    </a:lnTo>
                    <a:lnTo>
                      <a:pt x="34" y="271"/>
                    </a:lnTo>
                    <a:lnTo>
                      <a:pt x="30" y="254"/>
                    </a:lnTo>
                    <a:lnTo>
                      <a:pt x="38" y="247"/>
                    </a:lnTo>
                    <a:lnTo>
                      <a:pt x="43" y="220"/>
                    </a:lnTo>
                    <a:lnTo>
                      <a:pt x="37" y="217"/>
                    </a:lnTo>
                    <a:lnTo>
                      <a:pt x="18" y="220"/>
                    </a:lnTo>
                    <a:lnTo>
                      <a:pt x="3" y="219"/>
                    </a:lnTo>
                    <a:lnTo>
                      <a:pt x="5" y="214"/>
                    </a:lnTo>
                    <a:lnTo>
                      <a:pt x="10" y="214"/>
                    </a:lnTo>
                    <a:lnTo>
                      <a:pt x="6" y="209"/>
                    </a:lnTo>
                    <a:lnTo>
                      <a:pt x="5" y="196"/>
                    </a:lnTo>
                    <a:lnTo>
                      <a:pt x="0" y="193"/>
                    </a:lnTo>
                    <a:lnTo>
                      <a:pt x="5" y="187"/>
                    </a:lnTo>
                    <a:lnTo>
                      <a:pt x="5" y="177"/>
                    </a:lnTo>
                    <a:lnTo>
                      <a:pt x="8" y="172"/>
                    </a:lnTo>
                    <a:lnTo>
                      <a:pt x="14" y="174"/>
                    </a:lnTo>
                    <a:lnTo>
                      <a:pt x="14" y="169"/>
                    </a:lnTo>
                    <a:lnTo>
                      <a:pt x="18" y="168"/>
                    </a:lnTo>
                    <a:lnTo>
                      <a:pt x="19" y="163"/>
                    </a:lnTo>
                    <a:lnTo>
                      <a:pt x="18" y="155"/>
                    </a:lnTo>
                    <a:lnTo>
                      <a:pt x="21" y="148"/>
                    </a:lnTo>
                    <a:lnTo>
                      <a:pt x="19" y="145"/>
                    </a:lnTo>
                    <a:lnTo>
                      <a:pt x="22" y="144"/>
                    </a:lnTo>
                    <a:lnTo>
                      <a:pt x="22" y="141"/>
                    </a:lnTo>
                    <a:lnTo>
                      <a:pt x="26" y="139"/>
                    </a:lnTo>
                    <a:lnTo>
                      <a:pt x="26" y="134"/>
                    </a:lnTo>
                    <a:lnTo>
                      <a:pt x="30" y="133"/>
                    </a:lnTo>
                    <a:lnTo>
                      <a:pt x="30" y="125"/>
                    </a:lnTo>
                    <a:lnTo>
                      <a:pt x="35" y="121"/>
                    </a:lnTo>
                    <a:lnTo>
                      <a:pt x="32" y="117"/>
                    </a:lnTo>
                    <a:lnTo>
                      <a:pt x="32" y="77"/>
                    </a:lnTo>
                    <a:lnTo>
                      <a:pt x="35" y="74"/>
                    </a:lnTo>
                    <a:lnTo>
                      <a:pt x="29" y="56"/>
                    </a:lnTo>
                    <a:lnTo>
                      <a:pt x="43" y="53"/>
                    </a:lnTo>
                    <a:lnTo>
                      <a:pt x="42" y="29"/>
                    </a:lnTo>
                    <a:lnTo>
                      <a:pt x="45" y="24"/>
                    </a:lnTo>
                    <a:lnTo>
                      <a:pt x="53" y="24"/>
                    </a:lnTo>
                    <a:lnTo>
                      <a:pt x="57" y="16"/>
                    </a:lnTo>
                    <a:lnTo>
                      <a:pt x="57" y="11"/>
                    </a:lnTo>
                    <a:lnTo>
                      <a:pt x="64" y="5"/>
                    </a:lnTo>
                    <a:lnTo>
                      <a:pt x="62" y="0"/>
                    </a:lnTo>
                    <a:lnTo>
                      <a:pt x="70" y="0"/>
                    </a:lnTo>
                    <a:lnTo>
                      <a:pt x="70" y="42"/>
                    </a:lnTo>
                    <a:lnTo>
                      <a:pt x="80" y="48"/>
                    </a:lnTo>
                    <a:lnTo>
                      <a:pt x="83" y="46"/>
                    </a:lnTo>
                    <a:lnTo>
                      <a:pt x="91" y="32"/>
                    </a:lnTo>
                    <a:lnTo>
                      <a:pt x="96" y="32"/>
                    </a:lnTo>
                    <a:lnTo>
                      <a:pt x="96" y="67"/>
                    </a:lnTo>
                    <a:lnTo>
                      <a:pt x="120" y="97"/>
                    </a:lnTo>
                    <a:lnTo>
                      <a:pt x="131" y="99"/>
                    </a:lnTo>
                    <a:lnTo>
                      <a:pt x="152" y="93"/>
                    </a:lnTo>
                    <a:lnTo>
                      <a:pt x="176" y="104"/>
                    </a:lnTo>
                    <a:lnTo>
                      <a:pt x="207" y="110"/>
                    </a:lnTo>
                    <a:lnTo>
                      <a:pt x="201" y="121"/>
                    </a:lnTo>
                    <a:lnTo>
                      <a:pt x="198" y="139"/>
                    </a:lnTo>
                    <a:lnTo>
                      <a:pt x="195" y="147"/>
                    </a:lnTo>
                    <a:lnTo>
                      <a:pt x="190" y="150"/>
                    </a:lnTo>
                    <a:lnTo>
                      <a:pt x="190" y="169"/>
                    </a:lnTo>
                    <a:lnTo>
                      <a:pt x="187" y="172"/>
                    </a:lnTo>
                    <a:lnTo>
                      <a:pt x="185" y="180"/>
                    </a:lnTo>
                    <a:lnTo>
                      <a:pt x="192" y="182"/>
                    </a:lnTo>
                    <a:lnTo>
                      <a:pt x="201" y="188"/>
                    </a:lnTo>
                    <a:lnTo>
                      <a:pt x="207" y="185"/>
                    </a:lnTo>
                    <a:lnTo>
                      <a:pt x="211" y="188"/>
                    </a:lnTo>
                    <a:lnTo>
                      <a:pt x="217" y="182"/>
                    </a:lnTo>
                    <a:lnTo>
                      <a:pt x="222" y="185"/>
                    </a:lnTo>
                    <a:lnTo>
                      <a:pt x="227" y="182"/>
                    </a:lnTo>
                    <a:lnTo>
                      <a:pt x="238" y="187"/>
                    </a:lnTo>
                    <a:lnTo>
                      <a:pt x="251" y="185"/>
                    </a:lnTo>
                    <a:lnTo>
                      <a:pt x="257" y="190"/>
                    </a:lnTo>
                    <a:lnTo>
                      <a:pt x="262" y="192"/>
                    </a:lnTo>
                    <a:lnTo>
                      <a:pt x="271" y="201"/>
                    </a:lnTo>
                    <a:lnTo>
                      <a:pt x="275" y="206"/>
                    </a:lnTo>
                    <a:lnTo>
                      <a:pt x="275" y="212"/>
                    </a:lnTo>
                    <a:lnTo>
                      <a:pt x="279" y="219"/>
                    </a:lnTo>
                    <a:lnTo>
                      <a:pt x="271" y="233"/>
                    </a:lnTo>
                    <a:lnTo>
                      <a:pt x="273" y="235"/>
                    </a:lnTo>
                    <a:lnTo>
                      <a:pt x="275" y="247"/>
                    </a:lnTo>
                    <a:lnTo>
                      <a:pt x="278" y="252"/>
                    </a:lnTo>
                    <a:lnTo>
                      <a:pt x="275" y="255"/>
                    </a:lnTo>
                    <a:lnTo>
                      <a:pt x="271" y="263"/>
                    </a:lnTo>
                    <a:lnTo>
                      <a:pt x="267" y="257"/>
                    </a:lnTo>
                    <a:lnTo>
                      <a:pt x="263" y="255"/>
                    </a:lnTo>
                    <a:lnTo>
                      <a:pt x="262" y="249"/>
                    </a:lnTo>
                    <a:lnTo>
                      <a:pt x="260" y="255"/>
                    </a:lnTo>
                    <a:lnTo>
                      <a:pt x="255" y="254"/>
                    </a:lnTo>
                    <a:lnTo>
                      <a:pt x="260" y="257"/>
                    </a:lnTo>
                    <a:lnTo>
                      <a:pt x="254" y="262"/>
                    </a:lnTo>
                    <a:lnTo>
                      <a:pt x="251" y="259"/>
                    </a:lnTo>
                    <a:lnTo>
                      <a:pt x="251" y="254"/>
                    </a:lnTo>
                    <a:lnTo>
                      <a:pt x="247" y="260"/>
                    </a:lnTo>
                    <a:lnTo>
                      <a:pt x="246" y="254"/>
                    </a:lnTo>
                    <a:lnTo>
                      <a:pt x="244" y="257"/>
                    </a:lnTo>
                    <a:lnTo>
                      <a:pt x="241" y="251"/>
                    </a:lnTo>
                    <a:lnTo>
                      <a:pt x="239" y="254"/>
                    </a:lnTo>
                    <a:lnTo>
                      <a:pt x="236" y="254"/>
                    </a:lnTo>
                    <a:lnTo>
                      <a:pt x="231" y="247"/>
                    </a:lnTo>
                    <a:lnTo>
                      <a:pt x="233" y="254"/>
                    </a:lnTo>
                    <a:lnTo>
                      <a:pt x="227" y="252"/>
                    </a:lnTo>
                    <a:lnTo>
                      <a:pt x="225" y="246"/>
                    </a:lnTo>
                    <a:lnTo>
                      <a:pt x="222" y="249"/>
                    </a:lnTo>
                    <a:lnTo>
                      <a:pt x="219" y="246"/>
                    </a:lnTo>
                    <a:lnTo>
                      <a:pt x="219" y="249"/>
                    </a:lnTo>
                    <a:lnTo>
                      <a:pt x="214" y="246"/>
                    </a:lnTo>
                    <a:lnTo>
                      <a:pt x="215" y="251"/>
                    </a:lnTo>
                    <a:lnTo>
                      <a:pt x="212" y="251"/>
                    </a:lnTo>
                    <a:lnTo>
                      <a:pt x="212" y="252"/>
                    </a:lnTo>
                    <a:lnTo>
                      <a:pt x="215" y="255"/>
                    </a:lnTo>
                    <a:lnTo>
                      <a:pt x="214" y="263"/>
                    </a:lnTo>
                    <a:lnTo>
                      <a:pt x="215" y="262"/>
                    </a:lnTo>
                    <a:lnTo>
                      <a:pt x="217" y="268"/>
                    </a:lnTo>
                    <a:lnTo>
                      <a:pt x="220" y="270"/>
                    </a:lnTo>
                    <a:lnTo>
                      <a:pt x="215" y="271"/>
                    </a:lnTo>
                    <a:lnTo>
                      <a:pt x="212" y="267"/>
                    </a:lnTo>
                    <a:lnTo>
                      <a:pt x="214" y="263"/>
                    </a:lnTo>
                    <a:lnTo>
                      <a:pt x="211" y="260"/>
                    </a:lnTo>
                    <a:lnTo>
                      <a:pt x="212" y="257"/>
                    </a:lnTo>
                    <a:lnTo>
                      <a:pt x="209" y="254"/>
                    </a:lnTo>
                    <a:lnTo>
                      <a:pt x="212" y="257"/>
                    </a:lnTo>
                    <a:lnTo>
                      <a:pt x="211" y="260"/>
                    </a:lnTo>
                    <a:lnTo>
                      <a:pt x="214" y="265"/>
                    </a:lnTo>
                    <a:lnTo>
                      <a:pt x="211" y="265"/>
                    </a:lnTo>
                    <a:lnTo>
                      <a:pt x="207" y="262"/>
                    </a:lnTo>
                    <a:lnTo>
                      <a:pt x="209" y="254"/>
                    </a:lnTo>
                    <a:lnTo>
                      <a:pt x="201" y="244"/>
                    </a:lnTo>
                    <a:lnTo>
                      <a:pt x="206" y="241"/>
                    </a:lnTo>
                    <a:lnTo>
                      <a:pt x="204" y="230"/>
                    </a:lnTo>
                    <a:lnTo>
                      <a:pt x="198" y="244"/>
                    </a:lnTo>
                    <a:lnTo>
                      <a:pt x="192" y="241"/>
                    </a:lnTo>
                    <a:lnTo>
                      <a:pt x="190" y="235"/>
                    </a:lnTo>
                    <a:lnTo>
                      <a:pt x="192" y="231"/>
                    </a:lnTo>
                    <a:lnTo>
                      <a:pt x="195" y="233"/>
                    </a:lnTo>
                    <a:lnTo>
                      <a:pt x="198" y="230"/>
                    </a:lnTo>
                    <a:lnTo>
                      <a:pt x="201" y="231"/>
                    </a:lnTo>
                    <a:lnTo>
                      <a:pt x="207" y="228"/>
                    </a:lnTo>
                    <a:lnTo>
                      <a:pt x="204" y="227"/>
                    </a:lnTo>
                    <a:lnTo>
                      <a:pt x="201" y="231"/>
                    </a:lnTo>
                    <a:lnTo>
                      <a:pt x="198" y="230"/>
                    </a:lnTo>
                    <a:lnTo>
                      <a:pt x="195" y="233"/>
                    </a:lnTo>
                    <a:lnTo>
                      <a:pt x="192" y="231"/>
                    </a:lnTo>
                    <a:lnTo>
                      <a:pt x="188" y="236"/>
                    </a:lnTo>
                    <a:lnTo>
                      <a:pt x="188" y="227"/>
                    </a:lnTo>
                    <a:lnTo>
                      <a:pt x="196" y="225"/>
                    </a:lnTo>
                    <a:lnTo>
                      <a:pt x="198" y="222"/>
                    </a:lnTo>
                    <a:lnTo>
                      <a:pt x="196" y="220"/>
                    </a:lnTo>
                    <a:lnTo>
                      <a:pt x="198" y="219"/>
                    </a:lnTo>
                    <a:lnTo>
                      <a:pt x="193" y="217"/>
                    </a:lnTo>
                    <a:lnTo>
                      <a:pt x="196" y="219"/>
                    </a:lnTo>
                    <a:lnTo>
                      <a:pt x="196" y="220"/>
                    </a:lnTo>
                    <a:lnTo>
                      <a:pt x="198" y="222"/>
                    </a:lnTo>
                    <a:lnTo>
                      <a:pt x="192" y="225"/>
                    </a:lnTo>
                    <a:lnTo>
                      <a:pt x="188" y="225"/>
                    </a:lnTo>
                    <a:lnTo>
                      <a:pt x="187" y="233"/>
                    </a:lnTo>
                    <a:lnTo>
                      <a:pt x="180" y="230"/>
                    </a:lnTo>
                    <a:lnTo>
                      <a:pt x="179" y="219"/>
                    </a:lnTo>
                    <a:lnTo>
                      <a:pt x="176" y="219"/>
                    </a:lnTo>
                    <a:lnTo>
                      <a:pt x="174" y="215"/>
                    </a:lnTo>
                    <a:lnTo>
                      <a:pt x="172" y="217"/>
                    </a:lnTo>
                    <a:lnTo>
                      <a:pt x="177" y="220"/>
                    </a:lnTo>
                    <a:lnTo>
                      <a:pt x="180" y="225"/>
                    </a:lnTo>
                    <a:lnTo>
                      <a:pt x="180" y="230"/>
                    </a:lnTo>
                    <a:lnTo>
                      <a:pt x="177" y="230"/>
                    </a:lnTo>
                    <a:lnTo>
                      <a:pt x="177" y="223"/>
                    </a:lnTo>
                    <a:lnTo>
                      <a:pt x="174" y="222"/>
                    </a:lnTo>
                    <a:lnTo>
                      <a:pt x="177" y="223"/>
                    </a:lnTo>
                    <a:lnTo>
                      <a:pt x="177" y="230"/>
                    </a:lnTo>
                    <a:lnTo>
                      <a:pt x="176" y="230"/>
                    </a:lnTo>
                    <a:lnTo>
                      <a:pt x="171" y="219"/>
                    </a:lnTo>
                    <a:lnTo>
                      <a:pt x="172" y="212"/>
                    </a:lnTo>
                    <a:lnTo>
                      <a:pt x="171" y="212"/>
                    </a:lnTo>
                    <a:lnTo>
                      <a:pt x="172" y="214"/>
                    </a:lnTo>
                    <a:lnTo>
                      <a:pt x="169" y="217"/>
                    </a:lnTo>
                    <a:lnTo>
                      <a:pt x="171" y="211"/>
                    </a:lnTo>
                    <a:lnTo>
                      <a:pt x="166" y="203"/>
                    </a:lnTo>
                    <a:lnTo>
                      <a:pt x="169" y="201"/>
                    </a:lnTo>
                    <a:lnTo>
                      <a:pt x="171" y="196"/>
                    </a:lnTo>
                    <a:lnTo>
                      <a:pt x="168" y="196"/>
                    </a:lnTo>
                    <a:lnTo>
                      <a:pt x="168" y="201"/>
                    </a:lnTo>
                    <a:lnTo>
                      <a:pt x="163" y="196"/>
                    </a:lnTo>
                    <a:lnTo>
                      <a:pt x="168" y="200"/>
                    </a:lnTo>
                    <a:lnTo>
                      <a:pt x="164" y="204"/>
                    </a:lnTo>
                    <a:lnTo>
                      <a:pt x="168" y="206"/>
                    </a:lnTo>
                    <a:lnTo>
                      <a:pt x="164" y="209"/>
                    </a:lnTo>
                    <a:lnTo>
                      <a:pt x="158" y="208"/>
                    </a:lnTo>
                    <a:lnTo>
                      <a:pt x="156" y="203"/>
                    </a:lnTo>
                    <a:lnTo>
                      <a:pt x="156" y="204"/>
                    </a:lnTo>
                    <a:lnTo>
                      <a:pt x="153" y="203"/>
                    </a:lnTo>
                    <a:lnTo>
                      <a:pt x="158" y="204"/>
                    </a:lnTo>
                    <a:lnTo>
                      <a:pt x="158" y="208"/>
                    </a:lnTo>
                    <a:lnTo>
                      <a:pt x="164" y="209"/>
                    </a:lnTo>
                    <a:lnTo>
                      <a:pt x="163" y="212"/>
                    </a:lnTo>
                    <a:lnTo>
                      <a:pt x="160" y="211"/>
                    </a:lnTo>
                    <a:lnTo>
                      <a:pt x="164" y="212"/>
                    </a:lnTo>
                    <a:lnTo>
                      <a:pt x="164" y="217"/>
                    </a:lnTo>
                    <a:lnTo>
                      <a:pt x="158" y="220"/>
                    </a:lnTo>
                    <a:lnTo>
                      <a:pt x="153" y="214"/>
                    </a:lnTo>
                    <a:lnTo>
                      <a:pt x="158" y="211"/>
                    </a:lnTo>
                    <a:lnTo>
                      <a:pt x="155" y="211"/>
                    </a:lnTo>
                    <a:lnTo>
                      <a:pt x="153" y="215"/>
                    </a:lnTo>
                    <a:lnTo>
                      <a:pt x="153" y="206"/>
                    </a:lnTo>
                    <a:lnTo>
                      <a:pt x="148" y="208"/>
                    </a:lnTo>
                    <a:lnTo>
                      <a:pt x="145" y="206"/>
                    </a:lnTo>
                    <a:lnTo>
                      <a:pt x="144" y="201"/>
                    </a:lnTo>
                    <a:lnTo>
                      <a:pt x="145" y="206"/>
                    </a:lnTo>
                    <a:lnTo>
                      <a:pt x="148" y="208"/>
                    </a:lnTo>
                    <a:lnTo>
                      <a:pt x="142" y="211"/>
                    </a:lnTo>
                    <a:lnTo>
                      <a:pt x="142" y="208"/>
                    </a:lnTo>
                    <a:lnTo>
                      <a:pt x="139" y="208"/>
                    </a:lnTo>
                    <a:lnTo>
                      <a:pt x="137" y="201"/>
                    </a:lnTo>
                    <a:lnTo>
                      <a:pt x="132" y="201"/>
                    </a:lnTo>
                    <a:lnTo>
                      <a:pt x="136" y="196"/>
                    </a:lnTo>
                    <a:lnTo>
                      <a:pt x="132" y="195"/>
                    </a:lnTo>
                    <a:lnTo>
                      <a:pt x="134" y="190"/>
                    </a:lnTo>
                    <a:lnTo>
                      <a:pt x="129" y="188"/>
                    </a:lnTo>
                    <a:lnTo>
                      <a:pt x="126" y="182"/>
                    </a:lnTo>
                    <a:lnTo>
                      <a:pt x="134" y="196"/>
                    </a:lnTo>
                    <a:lnTo>
                      <a:pt x="131" y="198"/>
                    </a:lnTo>
                    <a:lnTo>
                      <a:pt x="132" y="203"/>
                    </a:lnTo>
                    <a:lnTo>
                      <a:pt x="131" y="203"/>
                    </a:lnTo>
                    <a:lnTo>
                      <a:pt x="110" y="195"/>
                    </a:lnTo>
                    <a:lnTo>
                      <a:pt x="107" y="203"/>
                    </a:lnTo>
                    <a:lnTo>
                      <a:pt x="105" y="200"/>
                    </a:lnTo>
                    <a:lnTo>
                      <a:pt x="101" y="200"/>
                    </a:lnTo>
                    <a:lnTo>
                      <a:pt x="102" y="196"/>
                    </a:lnTo>
                    <a:lnTo>
                      <a:pt x="99" y="196"/>
                    </a:lnTo>
                    <a:lnTo>
                      <a:pt x="99" y="195"/>
                    </a:lnTo>
                    <a:lnTo>
                      <a:pt x="99" y="198"/>
                    </a:lnTo>
                    <a:lnTo>
                      <a:pt x="96" y="195"/>
                    </a:lnTo>
                    <a:lnTo>
                      <a:pt x="96" y="200"/>
                    </a:lnTo>
                    <a:lnTo>
                      <a:pt x="93" y="200"/>
                    </a:lnTo>
                    <a:lnTo>
                      <a:pt x="91" y="192"/>
                    </a:lnTo>
                    <a:lnTo>
                      <a:pt x="91" y="195"/>
                    </a:lnTo>
                    <a:lnTo>
                      <a:pt x="86" y="195"/>
                    </a:lnTo>
                    <a:lnTo>
                      <a:pt x="86" y="188"/>
                    </a:lnTo>
                    <a:lnTo>
                      <a:pt x="80" y="185"/>
                    </a:lnTo>
                    <a:lnTo>
                      <a:pt x="83" y="188"/>
                    </a:lnTo>
                    <a:lnTo>
                      <a:pt x="81" y="192"/>
                    </a:lnTo>
                    <a:lnTo>
                      <a:pt x="86" y="190"/>
                    </a:lnTo>
                    <a:lnTo>
                      <a:pt x="85" y="196"/>
                    </a:lnTo>
                    <a:lnTo>
                      <a:pt x="81" y="198"/>
                    </a:lnTo>
                    <a:lnTo>
                      <a:pt x="88" y="196"/>
                    </a:lnTo>
                    <a:lnTo>
                      <a:pt x="89" y="201"/>
                    </a:lnTo>
                    <a:lnTo>
                      <a:pt x="85" y="201"/>
                    </a:lnTo>
                    <a:lnTo>
                      <a:pt x="86" y="198"/>
                    </a:lnTo>
                    <a:lnTo>
                      <a:pt x="85" y="201"/>
                    </a:lnTo>
                    <a:lnTo>
                      <a:pt x="94" y="208"/>
                    </a:lnTo>
                    <a:lnTo>
                      <a:pt x="93" y="211"/>
                    </a:lnTo>
                    <a:lnTo>
                      <a:pt x="94" y="211"/>
                    </a:lnTo>
                    <a:lnTo>
                      <a:pt x="94" y="217"/>
                    </a:lnTo>
                    <a:lnTo>
                      <a:pt x="96" y="219"/>
                    </a:lnTo>
                    <a:lnTo>
                      <a:pt x="99" y="231"/>
                    </a:lnTo>
                    <a:lnTo>
                      <a:pt x="110" y="244"/>
                    </a:lnTo>
                    <a:lnTo>
                      <a:pt x="109" y="251"/>
                    </a:lnTo>
                    <a:lnTo>
                      <a:pt x="102" y="254"/>
                    </a:lnTo>
                    <a:lnTo>
                      <a:pt x="104" y="249"/>
                    </a:lnTo>
                    <a:lnTo>
                      <a:pt x="102" y="252"/>
                    </a:lnTo>
                    <a:lnTo>
                      <a:pt x="110" y="279"/>
                    </a:lnTo>
                    <a:lnTo>
                      <a:pt x="109" y="283"/>
                    </a:lnTo>
                    <a:lnTo>
                      <a:pt x="107" y="283"/>
                    </a:lnTo>
                    <a:lnTo>
                      <a:pt x="110" y="281"/>
                    </a:lnTo>
                    <a:lnTo>
                      <a:pt x="112" y="294"/>
                    </a:lnTo>
                    <a:lnTo>
                      <a:pt x="121" y="303"/>
                    </a:lnTo>
                    <a:lnTo>
                      <a:pt x="93" y="306"/>
                    </a:lnTo>
                    <a:lnTo>
                      <a:pt x="85" y="303"/>
                    </a:lnTo>
                    <a:lnTo>
                      <a:pt x="85" y="294"/>
                    </a:lnTo>
                    <a:lnTo>
                      <a:pt x="93" y="289"/>
                    </a:lnTo>
                    <a:lnTo>
                      <a:pt x="97" y="292"/>
                    </a:lnTo>
                    <a:lnTo>
                      <a:pt x="101" y="290"/>
                    </a:lnTo>
                    <a:lnTo>
                      <a:pt x="93" y="289"/>
                    </a:lnTo>
                    <a:lnTo>
                      <a:pt x="85" y="292"/>
                    </a:lnTo>
                    <a:lnTo>
                      <a:pt x="83" y="284"/>
                    </a:lnTo>
                    <a:lnTo>
                      <a:pt x="97" y="281"/>
                    </a:lnTo>
                    <a:lnTo>
                      <a:pt x="96" y="283"/>
                    </a:lnTo>
                    <a:lnTo>
                      <a:pt x="93" y="278"/>
                    </a:lnTo>
                    <a:lnTo>
                      <a:pt x="94" y="279"/>
                    </a:lnTo>
                    <a:lnTo>
                      <a:pt x="86" y="284"/>
                    </a:lnTo>
                    <a:lnTo>
                      <a:pt x="83" y="283"/>
                    </a:lnTo>
                    <a:lnTo>
                      <a:pt x="91" y="276"/>
                    </a:lnTo>
                    <a:lnTo>
                      <a:pt x="83" y="281"/>
                    </a:lnTo>
                    <a:lnTo>
                      <a:pt x="80" y="271"/>
                    </a:lnTo>
                    <a:lnTo>
                      <a:pt x="88" y="254"/>
                    </a:lnTo>
                    <a:lnTo>
                      <a:pt x="88" y="244"/>
                    </a:lnTo>
                    <a:lnTo>
                      <a:pt x="94" y="243"/>
                    </a:lnTo>
                    <a:lnTo>
                      <a:pt x="93" y="239"/>
                    </a:lnTo>
                    <a:lnTo>
                      <a:pt x="96" y="239"/>
                    </a:lnTo>
                    <a:lnTo>
                      <a:pt x="96" y="236"/>
                    </a:lnTo>
                    <a:lnTo>
                      <a:pt x="94" y="235"/>
                    </a:lnTo>
                    <a:lnTo>
                      <a:pt x="96" y="238"/>
                    </a:lnTo>
                    <a:lnTo>
                      <a:pt x="93" y="239"/>
                    </a:lnTo>
                    <a:lnTo>
                      <a:pt x="94" y="243"/>
                    </a:lnTo>
                    <a:lnTo>
                      <a:pt x="89" y="244"/>
                    </a:lnTo>
                    <a:lnTo>
                      <a:pt x="86" y="236"/>
                    </a:lnTo>
                    <a:lnTo>
                      <a:pt x="88" y="233"/>
                    </a:lnTo>
                    <a:lnTo>
                      <a:pt x="85" y="236"/>
                    </a:lnTo>
                    <a:lnTo>
                      <a:pt x="88" y="243"/>
                    </a:lnTo>
                    <a:lnTo>
                      <a:pt x="86" y="244"/>
                    </a:lnTo>
                    <a:lnTo>
                      <a:pt x="86" y="238"/>
                    </a:lnTo>
                    <a:lnTo>
                      <a:pt x="83" y="235"/>
                    </a:lnTo>
                    <a:lnTo>
                      <a:pt x="83" y="231"/>
                    </a:lnTo>
                    <a:lnTo>
                      <a:pt x="81" y="235"/>
                    </a:lnTo>
                    <a:lnTo>
                      <a:pt x="80" y="235"/>
                    </a:lnTo>
                    <a:lnTo>
                      <a:pt x="85" y="238"/>
                    </a:lnTo>
                    <a:lnTo>
                      <a:pt x="83" y="246"/>
                    </a:lnTo>
                    <a:lnTo>
                      <a:pt x="85" y="244"/>
                    </a:lnTo>
                    <a:lnTo>
                      <a:pt x="86" y="247"/>
                    </a:lnTo>
                    <a:lnTo>
                      <a:pt x="78" y="267"/>
                    </a:lnTo>
                    <a:lnTo>
                      <a:pt x="81" y="287"/>
                    </a:lnTo>
                    <a:lnTo>
                      <a:pt x="80" y="289"/>
                    </a:lnTo>
                    <a:lnTo>
                      <a:pt x="72" y="270"/>
                    </a:lnTo>
                    <a:lnTo>
                      <a:pt x="77" y="262"/>
                    </a:lnTo>
                    <a:lnTo>
                      <a:pt x="70" y="257"/>
                    </a:lnTo>
                    <a:lnTo>
                      <a:pt x="67" y="246"/>
                    </a:lnTo>
                    <a:lnTo>
                      <a:pt x="70" y="246"/>
                    </a:lnTo>
                    <a:lnTo>
                      <a:pt x="69" y="241"/>
                    </a:lnTo>
                    <a:lnTo>
                      <a:pt x="69" y="246"/>
                    </a:lnTo>
                    <a:lnTo>
                      <a:pt x="64" y="247"/>
                    </a:lnTo>
                    <a:lnTo>
                      <a:pt x="61" y="246"/>
                    </a:lnTo>
                    <a:lnTo>
                      <a:pt x="64" y="239"/>
                    </a:lnTo>
                    <a:lnTo>
                      <a:pt x="57" y="236"/>
                    </a:lnTo>
                    <a:lnTo>
                      <a:pt x="61" y="230"/>
                    </a:lnTo>
                    <a:lnTo>
                      <a:pt x="57" y="235"/>
                    </a:lnTo>
                    <a:lnTo>
                      <a:pt x="48" y="227"/>
                    </a:lnTo>
                    <a:lnTo>
                      <a:pt x="56" y="217"/>
                    </a:lnTo>
                    <a:lnTo>
                      <a:pt x="49" y="214"/>
                    </a:lnTo>
                    <a:lnTo>
                      <a:pt x="49" y="209"/>
                    </a:lnTo>
                    <a:lnTo>
                      <a:pt x="54" y="204"/>
                    </a:lnTo>
                    <a:lnTo>
                      <a:pt x="53" y="200"/>
                    </a:lnTo>
                    <a:lnTo>
                      <a:pt x="59" y="198"/>
                    </a:lnTo>
                    <a:lnTo>
                      <a:pt x="59" y="206"/>
                    </a:lnTo>
                    <a:lnTo>
                      <a:pt x="59" y="198"/>
                    </a:lnTo>
                    <a:lnTo>
                      <a:pt x="56" y="196"/>
                    </a:lnTo>
                    <a:lnTo>
                      <a:pt x="51" y="190"/>
                    </a:lnTo>
                    <a:lnTo>
                      <a:pt x="56" y="198"/>
                    </a:lnTo>
                    <a:lnTo>
                      <a:pt x="51" y="200"/>
                    </a:lnTo>
                    <a:lnTo>
                      <a:pt x="54" y="204"/>
                    </a:lnTo>
                    <a:lnTo>
                      <a:pt x="49" y="209"/>
                    </a:lnTo>
                    <a:lnTo>
                      <a:pt x="48" y="212"/>
                    </a:lnTo>
                    <a:lnTo>
                      <a:pt x="56" y="217"/>
                    </a:lnTo>
                    <a:lnTo>
                      <a:pt x="48" y="227"/>
                    </a:lnTo>
                    <a:lnTo>
                      <a:pt x="57" y="235"/>
                    </a:lnTo>
                    <a:lnTo>
                      <a:pt x="54" y="238"/>
                    </a:lnTo>
                    <a:lnTo>
                      <a:pt x="57" y="255"/>
                    </a:lnTo>
                    <a:lnTo>
                      <a:pt x="54" y="257"/>
                    </a:lnTo>
                    <a:lnTo>
                      <a:pt x="51" y="251"/>
                    </a:lnTo>
                    <a:lnTo>
                      <a:pt x="51" y="252"/>
                    </a:lnTo>
                    <a:lnTo>
                      <a:pt x="53" y="257"/>
                    </a:lnTo>
                    <a:lnTo>
                      <a:pt x="57" y="255"/>
                    </a:lnTo>
                    <a:lnTo>
                      <a:pt x="56" y="262"/>
                    </a:lnTo>
                    <a:lnTo>
                      <a:pt x="61" y="262"/>
                    </a:lnTo>
                    <a:lnTo>
                      <a:pt x="65" y="270"/>
                    </a:lnTo>
                    <a:lnTo>
                      <a:pt x="72" y="273"/>
                    </a:lnTo>
                    <a:lnTo>
                      <a:pt x="73" y="286"/>
                    </a:lnTo>
                    <a:lnTo>
                      <a:pt x="65" y="286"/>
                    </a:lnTo>
                    <a:lnTo>
                      <a:pt x="70" y="289"/>
                    </a:lnTo>
                    <a:lnTo>
                      <a:pt x="73" y="287"/>
                    </a:lnTo>
                    <a:lnTo>
                      <a:pt x="73" y="290"/>
                    </a:lnTo>
                    <a:lnTo>
                      <a:pt x="78" y="294"/>
                    </a:lnTo>
                    <a:lnTo>
                      <a:pt x="80" y="297"/>
                    </a:lnTo>
                    <a:lnTo>
                      <a:pt x="77" y="298"/>
                    </a:lnTo>
                    <a:lnTo>
                      <a:pt x="80" y="298"/>
                    </a:lnTo>
                    <a:lnTo>
                      <a:pt x="81" y="306"/>
                    </a:lnTo>
                    <a:lnTo>
                      <a:pt x="81" y="308"/>
                    </a:lnTo>
                    <a:lnTo>
                      <a:pt x="69" y="310"/>
                    </a:lnTo>
                    <a:lnTo>
                      <a:pt x="65" y="313"/>
                    </a:lnTo>
                    <a:close/>
                    <a:moveTo>
                      <a:pt x="51" y="188"/>
                    </a:moveTo>
                    <a:lnTo>
                      <a:pt x="53" y="177"/>
                    </a:lnTo>
                    <a:lnTo>
                      <a:pt x="48" y="174"/>
                    </a:lnTo>
                    <a:lnTo>
                      <a:pt x="51" y="174"/>
                    </a:lnTo>
                    <a:lnTo>
                      <a:pt x="49" y="172"/>
                    </a:lnTo>
                    <a:lnTo>
                      <a:pt x="49" y="174"/>
                    </a:lnTo>
                    <a:lnTo>
                      <a:pt x="48" y="174"/>
                    </a:lnTo>
                    <a:lnTo>
                      <a:pt x="53" y="177"/>
                    </a:lnTo>
                    <a:lnTo>
                      <a:pt x="51" y="188"/>
                    </a:lnTo>
                    <a:close/>
                    <a:moveTo>
                      <a:pt x="24" y="314"/>
                    </a:moveTo>
                    <a:lnTo>
                      <a:pt x="18" y="311"/>
                    </a:lnTo>
                    <a:lnTo>
                      <a:pt x="21" y="306"/>
                    </a:lnTo>
                    <a:lnTo>
                      <a:pt x="18" y="298"/>
                    </a:lnTo>
                    <a:lnTo>
                      <a:pt x="22" y="290"/>
                    </a:lnTo>
                    <a:lnTo>
                      <a:pt x="24" y="292"/>
                    </a:lnTo>
                    <a:lnTo>
                      <a:pt x="27" y="279"/>
                    </a:lnTo>
                    <a:lnTo>
                      <a:pt x="30" y="278"/>
                    </a:lnTo>
                    <a:lnTo>
                      <a:pt x="27" y="273"/>
                    </a:lnTo>
                    <a:lnTo>
                      <a:pt x="30" y="278"/>
                    </a:lnTo>
                    <a:lnTo>
                      <a:pt x="27" y="279"/>
                    </a:lnTo>
                    <a:lnTo>
                      <a:pt x="24" y="292"/>
                    </a:lnTo>
                    <a:lnTo>
                      <a:pt x="19" y="284"/>
                    </a:lnTo>
                    <a:lnTo>
                      <a:pt x="19" y="268"/>
                    </a:lnTo>
                    <a:lnTo>
                      <a:pt x="24" y="257"/>
                    </a:lnTo>
                    <a:lnTo>
                      <a:pt x="30" y="254"/>
                    </a:lnTo>
                    <a:lnTo>
                      <a:pt x="34" y="275"/>
                    </a:lnTo>
                    <a:lnTo>
                      <a:pt x="42" y="279"/>
                    </a:lnTo>
                    <a:lnTo>
                      <a:pt x="40" y="286"/>
                    </a:lnTo>
                    <a:lnTo>
                      <a:pt x="46" y="290"/>
                    </a:lnTo>
                    <a:lnTo>
                      <a:pt x="45" y="297"/>
                    </a:lnTo>
                    <a:lnTo>
                      <a:pt x="49" y="298"/>
                    </a:lnTo>
                    <a:lnTo>
                      <a:pt x="49" y="303"/>
                    </a:lnTo>
                    <a:lnTo>
                      <a:pt x="54" y="305"/>
                    </a:lnTo>
                    <a:lnTo>
                      <a:pt x="51" y="310"/>
                    </a:lnTo>
                    <a:lnTo>
                      <a:pt x="38" y="311"/>
                    </a:lnTo>
                    <a:lnTo>
                      <a:pt x="32" y="308"/>
                    </a:lnTo>
                    <a:lnTo>
                      <a:pt x="38" y="311"/>
                    </a:lnTo>
                    <a:lnTo>
                      <a:pt x="56" y="310"/>
                    </a:lnTo>
                    <a:lnTo>
                      <a:pt x="24" y="31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pPr algn="ctr"/>
                <a:endParaRPr lang="en-US" sz="800" dirty="0"/>
              </a:p>
            </p:txBody>
          </p:sp>
          <p:sp>
            <p:nvSpPr>
              <p:cNvPr id="52" name="Freeform 217">
                <a:extLst>
                  <a:ext uri="{FF2B5EF4-FFF2-40B4-BE49-F238E27FC236}">
                    <a16:creationId xmlns:a16="http://schemas.microsoft.com/office/drawing/2014/main" id="{5A178458-68B5-4084-95DC-5024F971A4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05475" y="6011863"/>
                <a:ext cx="384175" cy="171450"/>
              </a:xfrm>
              <a:custGeom>
                <a:avLst/>
                <a:gdLst>
                  <a:gd name="T0" fmla="*/ 92 w 242"/>
                  <a:gd name="T1" fmla="*/ 94 h 108"/>
                  <a:gd name="T2" fmla="*/ 73 w 242"/>
                  <a:gd name="T3" fmla="*/ 91 h 108"/>
                  <a:gd name="T4" fmla="*/ 162 w 242"/>
                  <a:gd name="T5" fmla="*/ 83 h 108"/>
                  <a:gd name="T6" fmla="*/ 4 w 242"/>
                  <a:gd name="T7" fmla="*/ 102 h 108"/>
                  <a:gd name="T8" fmla="*/ 158 w 242"/>
                  <a:gd name="T9" fmla="*/ 88 h 108"/>
                  <a:gd name="T10" fmla="*/ 159 w 242"/>
                  <a:gd name="T11" fmla="*/ 75 h 108"/>
                  <a:gd name="T12" fmla="*/ 148 w 242"/>
                  <a:gd name="T13" fmla="*/ 99 h 108"/>
                  <a:gd name="T14" fmla="*/ 225 w 242"/>
                  <a:gd name="T15" fmla="*/ 78 h 108"/>
                  <a:gd name="T16" fmla="*/ 79 w 242"/>
                  <a:gd name="T17" fmla="*/ 89 h 108"/>
                  <a:gd name="T18" fmla="*/ 73 w 242"/>
                  <a:gd name="T19" fmla="*/ 73 h 108"/>
                  <a:gd name="T20" fmla="*/ 137 w 242"/>
                  <a:gd name="T21" fmla="*/ 75 h 108"/>
                  <a:gd name="T22" fmla="*/ 175 w 242"/>
                  <a:gd name="T23" fmla="*/ 80 h 108"/>
                  <a:gd name="T24" fmla="*/ 197 w 242"/>
                  <a:gd name="T25" fmla="*/ 72 h 108"/>
                  <a:gd name="T26" fmla="*/ 177 w 242"/>
                  <a:gd name="T27" fmla="*/ 75 h 108"/>
                  <a:gd name="T28" fmla="*/ 20 w 242"/>
                  <a:gd name="T29" fmla="*/ 64 h 108"/>
                  <a:gd name="T30" fmla="*/ 178 w 242"/>
                  <a:gd name="T31" fmla="*/ 62 h 108"/>
                  <a:gd name="T32" fmla="*/ 236 w 242"/>
                  <a:gd name="T33" fmla="*/ 73 h 108"/>
                  <a:gd name="T34" fmla="*/ 207 w 242"/>
                  <a:gd name="T35" fmla="*/ 68 h 108"/>
                  <a:gd name="T36" fmla="*/ 226 w 242"/>
                  <a:gd name="T37" fmla="*/ 62 h 108"/>
                  <a:gd name="T38" fmla="*/ 129 w 242"/>
                  <a:gd name="T39" fmla="*/ 62 h 108"/>
                  <a:gd name="T40" fmla="*/ 196 w 242"/>
                  <a:gd name="T41" fmla="*/ 67 h 108"/>
                  <a:gd name="T42" fmla="*/ 124 w 242"/>
                  <a:gd name="T43" fmla="*/ 59 h 108"/>
                  <a:gd name="T44" fmla="*/ 191 w 242"/>
                  <a:gd name="T45" fmla="*/ 64 h 108"/>
                  <a:gd name="T46" fmla="*/ 178 w 242"/>
                  <a:gd name="T47" fmla="*/ 60 h 108"/>
                  <a:gd name="T48" fmla="*/ 140 w 242"/>
                  <a:gd name="T49" fmla="*/ 60 h 108"/>
                  <a:gd name="T50" fmla="*/ 146 w 242"/>
                  <a:gd name="T51" fmla="*/ 68 h 108"/>
                  <a:gd name="T52" fmla="*/ 177 w 242"/>
                  <a:gd name="T53" fmla="*/ 54 h 108"/>
                  <a:gd name="T54" fmla="*/ 19 w 242"/>
                  <a:gd name="T55" fmla="*/ 65 h 108"/>
                  <a:gd name="T56" fmla="*/ 97 w 242"/>
                  <a:gd name="T57" fmla="*/ 52 h 108"/>
                  <a:gd name="T58" fmla="*/ 90 w 242"/>
                  <a:gd name="T59" fmla="*/ 60 h 108"/>
                  <a:gd name="T60" fmla="*/ 95 w 242"/>
                  <a:gd name="T61" fmla="*/ 73 h 108"/>
                  <a:gd name="T62" fmla="*/ 79 w 242"/>
                  <a:gd name="T63" fmla="*/ 78 h 108"/>
                  <a:gd name="T64" fmla="*/ 111 w 242"/>
                  <a:gd name="T65" fmla="*/ 51 h 108"/>
                  <a:gd name="T66" fmla="*/ 122 w 242"/>
                  <a:gd name="T67" fmla="*/ 49 h 108"/>
                  <a:gd name="T68" fmla="*/ 122 w 242"/>
                  <a:gd name="T69" fmla="*/ 49 h 108"/>
                  <a:gd name="T70" fmla="*/ 167 w 242"/>
                  <a:gd name="T71" fmla="*/ 59 h 108"/>
                  <a:gd name="T72" fmla="*/ 20 w 242"/>
                  <a:gd name="T73" fmla="*/ 57 h 108"/>
                  <a:gd name="T74" fmla="*/ 70 w 242"/>
                  <a:gd name="T75" fmla="*/ 41 h 108"/>
                  <a:gd name="T76" fmla="*/ 162 w 242"/>
                  <a:gd name="T77" fmla="*/ 41 h 108"/>
                  <a:gd name="T78" fmla="*/ 111 w 242"/>
                  <a:gd name="T79" fmla="*/ 41 h 108"/>
                  <a:gd name="T80" fmla="*/ 110 w 242"/>
                  <a:gd name="T81" fmla="*/ 41 h 108"/>
                  <a:gd name="T82" fmla="*/ 108 w 242"/>
                  <a:gd name="T83" fmla="*/ 36 h 108"/>
                  <a:gd name="T84" fmla="*/ 100 w 242"/>
                  <a:gd name="T85" fmla="*/ 49 h 108"/>
                  <a:gd name="T86" fmla="*/ 110 w 242"/>
                  <a:gd name="T87" fmla="*/ 33 h 108"/>
                  <a:gd name="T88" fmla="*/ 105 w 242"/>
                  <a:gd name="T89" fmla="*/ 35 h 108"/>
                  <a:gd name="T90" fmla="*/ 116 w 242"/>
                  <a:gd name="T91" fmla="*/ 27 h 108"/>
                  <a:gd name="T92" fmla="*/ 127 w 242"/>
                  <a:gd name="T93" fmla="*/ 51 h 108"/>
                  <a:gd name="T94" fmla="*/ 84 w 242"/>
                  <a:gd name="T95" fmla="*/ 54 h 108"/>
                  <a:gd name="T96" fmla="*/ 70 w 242"/>
                  <a:gd name="T97" fmla="*/ 38 h 108"/>
                  <a:gd name="T98" fmla="*/ 127 w 242"/>
                  <a:gd name="T99" fmla="*/ 27 h 108"/>
                  <a:gd name="T100" fmla="*/ 67 w 242"/>
                  <a:gd name="T101" fmla="*/ 32 h 108"/>
                  <a:gd name="T102" fmla="*/ 60 w 242"/>
                  <a:gd name="T103" fmla="*/ 19 h 108"/>
                  <a:gd name="T104" fmla="*/ 90 w 242"/>
                  <a:gd name="T105" fmla="*/ 13 h 108"/>
                  <a:gd name="T106" fmla="*/ 108 w 242"/>
                  <a:gd name="T107" fmla="*/ 25 h 108"/>
                  <a:gd name="T108" fmla="*/ 95 w 242"/>
                  <a:gd name="T109" fmla="*/ 16 h 108"/>
                  <a:gd name="T110" fmla="*/ 100 w 242"/>
                  <a:gd name="T111" fmla="*/ 20 h 108"/>
                  <a:gd name="T112" fmla="*/ 49 w 242"/>
                  <a:gd name="T113" fmla="*/ 3 h 108"/>
                  <a:gd name="T114" fmla="*/ 65 w 242"/>
                  <a:gd name="T115" fmla="*/ 16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42" h="108">
                    <a:moveTo>
                      <a:pt x="35" y="95"/>
                    </a:moveTo>
                    <a:lnTo>
                      <a:pt x="33" y="95"/>
                    </a:lnTo>
                    <a:lnTo>
                      <a:pt x="33" y="92"/>
                    </a:lnTo>
                    <a:lnTo>
                      <a:pt x="35" y="95"/>
                    </a:lnTo>
                    <a:close/>
                    <a:moveTo>
                      <a:pt x="95" y="89"/>
                    </a:moveTo>
                    <a:lnTo>
                      <a:pt x="100" y="92"/>
                    </a:lnTo>
                    <a:lnTo>
                      <a:pt x="100" y="99"/>
                    </a:lnTo>
                    <a:lnTo>
                      <a:pt x="94" y="97"/>
                    </a:lnTo>
                    <a:lnTo>
                      <a:pt x="95" y="94"/>
                    </a:lnTo>
                    <a:lnTo>
                      <a:pt x="92" y="94"/>
                    </a:lnTo>
                    <a:lnTo>
                      <a:pt x="94" y="91"/>
                    </a:lnTo>
                    <a:lnTo>
                      <a:pt x="95" y="89"/>
                    </a:lnTo>
                    <a:close/>
                    <a:moveTo>
                      <a:pt x="89" y="89"/>
                    </a:moveTo>
                    <a:lnTo>
                      <a:pt x="92" y="94"/>
                    </a:lnTo>
                    <a:lnTo>
                      <a:pt x="94" y="94"/>
                    </a:lnTo>
                    <a:lnTo>
                      <a:pt x="94" y="97"/>
                    </a:lnTo>
                    <a:lnTo>
                      <a:pt x="102" y="100"/>
                    </a:lnTo>
                    <a:lnTo>
                      <a:pt x="100" y="105"/>
                    </a:lnTo>
                    <a:lnTo>
                      <a:pt x="76" y="100"/>
                    </a:lnTo>
                    <a:lnTo>
                      <a:pt x="73" y="91"/>
                    </a:lnTo>
                    <a:lnTo>
                      <a:pt x="76" y="89"/>
                    </a:lnTo>
                    <a:lnTo>
                      <a:pt x="79" y="91"/>
                    </a:lnTo>
                    <a:lnTo>
                      <a:pt x="87" y="84"/>
                    </a:lnTo>
                    <a:lnTo>
                      <a:pt x="89" y="89"/>
                    </a:lnTo>
                    <a:close/>
                    <a:moveTo>
                      <a:pt x="151" y="89"/>
                    </a:moveTo>
                    <a:lnTo>
                      <a:pt x="150" y="86"/>
                    </a:lnTo>
                    <a:lnTo>
                      <a:pt x="153" y="83"/>
                    </a:lnTo>
                    <a:lnTo>
                      <a:pt x="154" y="86"/>
                    </a:lnTo>
                    <a:lnTo>
                      <a:pt x="159" y="81"/>
                    </a:lnTo>
                    <a:lnTo>
                      <a:pt x="162" y="83"/>
                    </a:lnTo>
                    <a:lnTo>
                      <a:pt x="161" y="88"/>
                    </a:lnTo>
                    <a:lnTo>
                      <a:pt x="158" y="88"/>
                    </a:lnTo>
                    <a:lnTo>
                      <a:pt x="154" y="91"/>
                    </a:lnTo>
                    <a:lnTo>
                      <a:pt x="151" y="89"/>
                    </a:lnTo>
                    <a:close/>
                    <a:moveTo>
                      <a:pt x="12" y="81"/>
                    </a:moveTo>
                    <a:lnTo>
                      <a:pt x="15" y="86"/>
                    </a:lnTo>
                    <a:lnTo>
                      <a:pt x="14" y="105"/>
                    </a:lnTo>
                    <a:lnTo>
                      <a:pt x="7" y="108"/>
                    </a:lnTo>
                    <a:lnTo>
                      <a:pt x="7" y="102"/>
                    </a:lnTo>
                    <a:lnTo>
                      <a:pt x="4" y="102"/>
                    </a:lnTo>
                    <a:lnTo>
                      <a:pt x="4" y="94"/>
                    </a:lnTo>
                    <a:lnTo>
                      <a:pt x="0" y="89"/>
                    </a:lnTo>
                    <a:lnTo>
                      <a:pt x="3" y="81"/>
                    </a:lnTo>
                    <a:lnTo>
                      <a:pt x="6" y="84"/>
                    </a:lnTo>
                    <a:lnTo>
                      <a:pt x="11" y="83"/>
                    </a:lnTo>
                    <a:lnTo>
                      <a:pt x="11" y="80"/>
                    </a:lnTo>
                    <a:lnTo>
                      <a:pt x="12" y="81"/>
                    </a:lnTo>
                    <a:close/>
                    <a:moveTo>
                      <a:pt x="151" y="89"/>
                    </a:moveTo>
                    <a:lnTo>
                      <a:pt x="154" y="91"/>
                    </a:lnTo>
                    <a:lnTo>
                      <a:pt x="158" y="88"/>
                    </a:lnTo>
                    <a:lnTo>
                      <a:pt x="162" y="89"/>
                    </a:lnTo>
                    <a:lnTo>
                      <a:pt x="165" y="91"/>
                    </a:lnTo>
                    <a:lnTo>
                      <a:pt x="164" y="89"/>
                    </a:lnTo>
                    <a:lnTo>
                      <a:pt x="167" y="89"/>
                    </a:lnTo>
                    <a:lnTo>
                      <a:pt x="164" y="88"/>
                    </a:lnTo>
                    <a:lnTo>
                      <a:pt x="162" y="83"/>
                    </a:lnTo>
                    <a:lnTo>
                      <a:pt x="159" y="81"/>
                    </a:lnTo>
                    <a:lnTo>
                      <a:pt x="161" y="80"/>
                    </a:lnTo>
                    <a:lnTo>
                      <a:pt x="156" y="81"/>
                    </a:lnTo>
                    <a:lnTo>
                      <a:pt x="159" y="75"/>
                    </a:lnTo>
                    <a:lnTo>
                      <a:pt x="165" y="76"/>
                    </a:lnTo>
                    <a:lnTo>
                      <a:pt x="170" y="81"/>
                    </a:lnTo>
                    <a:lnTo>
                      <a:pt x="175" y="80"/>
                    </a:lnTo>
                    <a:lnTo>
                      <a:pt x="178" y="84"/>
                    </a:lnTo>
                    <a:lnTo>
                      <a:pt x="183" y="81"/>
                    </a:lnTo>
                    <a:lnTo>
                      <a:pt x="185" y="94"/>
                    </a:lnTo>
                    <a:lnTo>
                      <a:pt x="159" y="103"/>
                    </a:lnTo>
                    <a:lnTo>
                      <a:pt x="142" y="103"/>
                    </a:lnTo>
                    <a:lnTo>
                      <a:pt x="142" y="97"/>
                    </a:lnTo>
                    <a:lnTo>
                      <a:pt x="148" y="99"/>
                    </a:lnTo>
                    <a:lnTo>
                      <a:pt x="142" y="95"/>
                    </a:lnTo>
                    <a:lnTo>
                      <a:pt x="145" y="95"/>
                    </a:lnTo>
                    <a:lnTo>
                      <a:pt x="150" y="86"/>
                    </a:lnTo>
                    <a:lnTo>
                      <a:pt x="151" y="89"/>
                    </a:lnTo>
                    <a:close/>
                    <a:moveTo>
                      <a:pt x="242" y="76"/>
                    </a:moveTo>
                    <a:lnTo>
                      <a:pt x="239" y="78"/>
                    </a:lnTo>
                    <a:lnTo>
                      <a:pt x="239" y="81"/>
                    </a:lnTo>
                    <a:lnTo>
                      <a:pt x="237" y="76"/>
                    </a:lnTo>
                    <a:lnTo>
                      <a:pt x="233" y="81"/>
                    </a:lnTo>
                    <a:lnTo>
                      <a:pt x="225" y="78"/>
                    </a:lnTo>
                    <a:lnTo>
                      <a:pt x="228" y="75"/>
                    </a:lnTo>
                    <a:lnTo>
                      <a:pt x="234" y="78"/>
                    </a:lnTo>
                    <a:lnTo>
                      <a:pt x="237" y="73"/>
                    </a:lnTo>
                    <a:lnTo>
                      <a:pt x="242" y="76"/>
                    </a:lnTo>
                    <a:close/>
                    <a:moveTo>
                      <a:pt x="71" y="76"/>
                    </a:moveTo>
                    <a:lnTo>
                      <a:pt x="79" y="80"/>
                    </a:lnTo>
                    <a:lnTo>
                      <a:pt x="81" y="83"/>
                    </a:lnTo>
                    <a:lnTo>
                      <a:pt x="84" y="80"/>
                    </a:lnTo>
                    <a:lnTo>
                      <a:pt x="87" y="83"/>
                    </a:lnTo>
                    <a:lnTo>
                      <a:pt x="79" y="89"/>
                    </a:lnTo>
                    <a:lnTo>
                      <a:pt x="73" y="88"/>
                    </a:lnTo>
                    <a:lnTo>
                      <a:pt x="68" y="73"/>
                    </a:lnTo>
                    <a:lnTo>
                      <a:pt x="71" y="76"/>
                    </a:lnTo>
                    <a:close/>
                    <a:moveTo>
                      <a:pt x="221" y="73"/>
                    </a:moveTo>
                    <a:lnTo>
                      <a:pt x="221" y="80"/>
                    </a:lnTo>
                    <a:lnTo>
                      <a:pt x="212" y="76"/>
                    </a:lnTo>
                    <a:lnTo>
                      <a:pt x="221" y="73"/>
                    </a:lnTo>
                    <a:close/>
                    <a:moveTo>
                      <a:pt x="71" y="76"/>
                    </a:moveTo>
                    <a:lnTo>
                      <a:pt x="68" y="73"/>
                    </a:lnTo>
                    <a:lnTo>
                      <a:pt x="73" y="73"/>
                    </a:lnTo>
                    <a:lnTo>
                      <a:pt x="71" y="76"/>
                    </a:lnTo>
                    <a:close/>
                    <a:moveTo>
                      <a:pt x="204" y="75"/>
                    </a:moveTo>
                    <a:lnTo>
                      <a:pt x="202" y="76"/>
                    </a:lnTo>
                    <a:lnTo>
                      <a:pt x="201" y="75"/>
                    </a:lnTo>
                    <a:lnTo>
                      <a:pt x="202" y="72"/>
                    </a:lnTo>
                    <a:lnTo>
                      <a:pt x="204" y="75"/>
                    </a:lnTo>
                    <a:close/>
                    <a:moveTo>
                      <a:pt x="145" y="72"/>
                    </a:moveTo>
                    <a:lnTo>
                      <a:pt x="138" y="81"/>
                    </a:lnTo>
                    <a:lnTo>
                      <a:pt x="135" y="81"/>
                    </a:lnTo>
                    <a:lnTo>
                      <a:pt x="137" y="75"/>
                    </a:lnTo>
                    <a:lnTo>
                      <a:pt x="145" y="72"/>
                    </a:lnTo>
                    <a:close/>
                    <a:moveTo>
                      <a:pt x="199" y="70"/>
                    </a:moveTo>
                    <a:lnTo>
                      <a:pt x="197" y="68"/>
                    </a:lnTo>
                    <a:lnTo>
                      <a:pt x="201" y="68"/>
                    </a:lnTo>
                    <a:lnTo>
                      <a:pt x="199" y="70"/>
                    </a:lnTo>
                    <a:close/>
                    <a:moveTo>
                      <a:pt x="169" y="75"/>
                    </a:moveTo>
                    <a:lnTo>
                      <a:pt x="173" y="78"/>
                    </a:lnTo>
                    <a:lnTo>
                      <a:pt x="186" y="76"/>
                    </a:lnTo>
                    <a:lnTo>
                      <a:pt x="178" y="83"/>
                    </a:lnTo>
                    <a:lnTo>
                      <a:pt x="175" y="80"/>
                    </a:lnTo>
                    <a:lnTo>
                      <a:pt x="170" y="81"/>
                    </a:lnTo>
                    <a:lnTo>
                      <a:pt x="165" y="75"/>
                    </a:lnTo>
                    <a:lnTo>
                      <a:pt x="162" y="76"/>
                    </a:lnTo>
                    <a:lnTo>
                      <a:pt x="159" y="73"/>
                    </a:lnTo>
                    <a:lnTo>
                      <a:pt x="164" y="67"/>
                    </a:lnTo>
                    <a:lnTo>
                      <a:pt x="169" y="75"/>
                    </a:lnTo>
                    <a:close/>
                    <a:moveTo>
                      <a:pt x="207" y="65"/>
                    </a:moveTo>
                    <a:lnTo>
                      <a:pt x="204" y="72"/>
                    </a:lnTo>
                    <a:lnTo>
                      <a:pt x="199" y="73"/>
                    </a:lnTo>
                    <a:lnTo>
                      <a:pt x="197" y="72"/>
                    </a:lnTo>
                    <a:lnTo>
                      <a:pt x="207" y="65"/>
                    </a:lnTo>
                    <a:close/>
                    <a:moveTo>
                      <a:pt x="177" y="68"/>
                    </a:moveTo>
                    <a:lnTo>
                      <a:pt x="180" y="67"/>
                    </a:lnTo>
                    <a:lnTo>
                      <a:pt x="181" y="72"/>
                    </a:lnTo>
                    <a:lnTo>
                      <a:pt x="183" y="68"/>
                    </a:lnTo>
                    <a:lnTo>
                      <a:pt x="185" y="67"/>
                    </a:lnTo>
                    <a:lnTo>
                      <a:pt x="186" y="75"/>
                    </a:lnTo>
                    <a:lnTo>
                      <a:pt x="183" y="72"/>
                    </a:lnTo>
                    <a:lnTo>
                      <a:pt x="185" y="73"/>
                    </a:lnTo>
                    <a:lnTo>
                      <a:pt x="177" y="75"/>
                    </a:lnTo>
                    <a:lnTo>
                      <a:pt x="173" y="67"/>
                    </a:lnTo>
                    <a:lnTo>
                      <a:pt x="175" y="65"/>
                    </a:lnTo>
                    <a:lnTo>
                      <a:pt x="177" y="68"/>
                    </a:lnTo>
                    <a:close/>
                    <a:moveTo>
                      <a:pt x="175" y="65"/>
                    </a:moveTo>
                    <a:lnTo>
                      <a:pt x="172" y="67"/>
                    </a:lnTo>
                    <a:lnTo>
                      <a:pt x="173" y="64"/>
                    </a:lnTo>
                    <a:lnTo>
                      <a:pt x="175" y="65"/>
                    </a:lnTo>
                    <a:close/>
                    <a:moveTo>
                      <a:pt x="19" y="65"/>
                    </a:moveTo>
                    <a:lnTo>
                      <a:pt x="17" y="65"/>
                    </a:lnTo>
                    <a:lnTo>
                      <a:pt x="20" y="64"/>
                    </a:lnTo>
                    <a:lnTo>
                      <a:pt x="19" y="65"/>
                    </a:lnTo>
                    <a:close/>
                    <a:moveTo>
                      <a:pt x="185" y="65"/>
                    </a:moveTo>
                    <a:lnTo>
                      <a:pt x="181" y="67"/>
                    </a:lnTo>
                    <a:lnTo>
                      <a:pt x="181" y="64"/>
                    </a:lnTo>
                    <a:lnTo>
                      <a:pt x="185" y="65"/>
                    </a:lnTo>
                    <a:close/>
                    <a:moveTo>
                      <a:pt x="15" y="62"/>
                    </a:moveTo>
                    <a:lnTo>
                      <a:pt x="19" y="64"/>
                    </a:lnTo>
                    <a:lnTo>
                      <a:pt x="15" y="67"/>
                    </a:lnTo>
                    <a:lnTo>
                      <a:pt x="15" y="62"/>
                    </a:lnTo>
                    <a:close/>
                    <a:moveTo>
                      <a:pt x="178" y="62"/>
                    </a:moveTo>
                    <a:lnTo>
                      <a:pt x="180" y="65"/>
                    </a:lnTo>
                    <a:lnTo>
                      <a:pt x="177" y="65"/>
                    </a:lnTo>
                    <a:lnTo>
                      <a:pt x="180" y="67"/>
                    </a:lnTo>
                    <a:lnTo>
                      <a:pt x="177" y="68"/>
                    </a:lnTo>
                    <a:lnTo>
                      <a:pt x="177" y="62"/>
                    </a:lnTo>
                    <a:lnTo>
                      <a:pt x="178" y="62"/>
                    </a:lnTo>
                    <a:close/>
                    <a:moveTo>
                      <a:pt x="226" y="62"/>
                    </a:moveTo>
                    <a:lnTo>
                      <a:pt x="228" y="68"/>
                    </a:lnTo>
                    <a:lnTo>
                      <a:pt x="233" y="67"/>
                    </a:lnTo>
                    <a:lnTo>
                      <a:pt x="236" y="73"/>
                    </a:lnTo>
                    <a:lnTo>
                      <a:pt x="234" y="76"/>
                    </a:lnTo>
                    <a:lnTo>
                      <a:pt x="228" y="75"/>
                    </a:lnTo>
                    <a:lnTo>
                      <a:pt x="221" y="78"/>
                    </a:lnTo>
                    <a:lnTo>
                      <a:pt x="221" y="70"/>
                    </a:lnTo>
                    <a:lnTo>
                      <a:pt x="220" y="72"/>
                    </a:lnTo>
                    <a:lnTo>
                      <a:pt x="210" y="72"/>
                    </a:lnTo>
                    <a:lnTo>
                      <a:pt x="212" y="75"/>
                    </a:lnTo>
                    <a:lnTo>
                      <a:pt x="207" y="78"/>
                    </a:lnTo>
                    <a:lnTo>
                      <a:pt x="204" y="72"/>
                    </a:lnTo>
                    <a:lnTo>
                      <a:pt x="207" y="68"/>
                    </a:lnTo>
                    <a:lnTo>
                      <a:pt x="210" y="72"/>
                    </a:lnTo>
                    <a:lnTo>
                      <a:pt x="207" y="70"/>
                    </a:lnTo>
                    <a:lnTo>
                      <a:pt x="209" y="70"/>
                    </a:lnTo>
                    <a:lnTo>
                      <a:pt x="207" y="67"/>
                    </a:lnTo>
                    <a:lnTo>
                      <a:pt x="213" y="68"/>
                    </a:lnTo>
                    <a:lnTo>
                      <a:pt x="215" y="64"/>
                    </a:lnTo>
                    <a:lnTo>
                      <a:pt x="218" y="67"/>
                    </a:lnTo>
                    <a:lnTo>
                      <a:pt x="217" y="65"/>
                    </a:lnTo>
                    <a:lnTo>
                      <a:pt x="218" y="62"/>
                    </a:lnTo>
                    <a:lnTo>
                      <a:pt x="226" y="62"/>
                    </a:lnTo>
                    <a:close/>
                    <a:moveTo>
                      <a:pt x="129" y="62"/>
                    </a:moveTo>
                    <a:lnTo>
                      <a:pt x="137" y="75"/>
                    </a:lnTo>
                    <a:lnTo>
                      <a:pt x="134" y="80"/>
                    </a:lnTo>
                    <a:lnTo>
                      <a:pt x="134" y="88"/>
                    </a:lnTo>
                    <a:lnTo>
                      <a:pt x="127" y="86"/>
                    </a:lnTo>
                    <a:lnTo>
                      <a:pt x="124" y="81"/>
                    </a:lnTo>
                    <a:lnTo>
                      <a:pt x="127" y="75"/>
                    </a:lnTo>
                    <a:lnTo>
                      <a:pt x="121" y="64"/>
                    </a:lnTo>
                    <a:lnTo>
                      <a:pt x="129" y="62"/>
                    </a:lnTo>
                    <a:close/>
                    <a:moveTo>
                      <a:pt x="129" y="62"/>
                    </a:moveTo>
                    <a:lnTo>
                      <a:pt x="126" y="60"/>
                    </a:lnTo>
                    <a:lnTo>
                      <a:pt x="129" y="60"/>
                    </a:lnTo>
                    <a:lnTo>
                      <a:pt x="129" y="62"/>
                    </a:lnTo>
                    <a:close/>
                    <a:moveTo>
                      <a:pt x="201" y="60"/>
                    </a:moveTo>
                    <a:lnTo>
                      <a:pt x="202" y="64"/>
                    </a:lnTo>
                    <a:lnTo>
                      <a:pt x="201" y="68"/>
                    </a:lnTo>
                    <a:lnTo>
                      <a:pt x="197" y="68"/>
                    </a:lnTo>
                    <a:lnTo>
                      <a:pt x="197" y="75"/>
                    </a:lnTo>
                    <a:lnTo>
                      <a:pt x="193" y="75"/>
                    </a:lnTo>
                    <a:lnTo>
                      <a:pt x="196" y="67"/>
                    </a:lnTo>
                    <a:lnTo>
                      <a:pt x="194" y="67"/>
                    </a:lnTo>
                    <a:lnTo>
                      <a:pt x="194" y="70"/>
                    </a:lnTo>
                    <a:lnTo>
                      <a:pt x="191" y="67"/>
                    </a:lnTo>
                    <a:lnTo>
                      <a:pt x="197" y="64"/>
                    </a:lnTo>
                    <a:lnTo>
                      <a:pt x="194" y="64"/>
                    </a:lnTo>
                    <a:lnTo>
                      <a:pt x="196" y="60"/>
                    </a:lnTo>
                    <a:lnTo>
                      <a:pt x="201" y="60"/>
                    </a:lnTo>
                    <a:close/>
                    <a:moveTo>
                      <a:pt x="124" y="62"/>
                    </a:moveTo>
                    <a:lnTo>
                      <a:pt x="122" y="62"/>
                    </a:lnTo>
                    <a:lnTo>
                      <a:pt x="124" y="59"/>
                    </a:lnTo>
                    <a:lnTo>
                      <a:pt x="124" y="62"/>
                    </a:lnTo>
                    <a:close/>
                    <a:moveTo>
                      <a:pt x="191" y="64"/>
                    </a:moveTo>
                    <a:lnTo>
                      <a:pt x="193" y="72"/>
                    </a:lnTo>
                    <a:lnTo>
                      <a:pt x="191" y="75"/>
                    </a:lnTo>
                    <a:lnTo>
                      <a:pt x="188" y="68"/>
                    </a:lnTo>
                    <a:lnTo>
                      <a:pt x="189" y="65"/>
                    </a:lnTo>
                    <a:lnTo>
                      <a:pt x="186" y="62"/>
                    </a:lnTo>
                    <a:lnTo>
                      <a:pt x="189" y="59"/>
                    </a:lnTo>
                    <a:lnTo>
                      <a:pt x="191" y="59"/>
                    </a:lnTo>
                    <a:lnTo>
                      <a:pt x="191" y="64"/>
                    </a:lnTo>
                    <a:close/>
                    <a:moveTo>
                      <a:pt x="188" y="59"/>
                    </a:moveTo>
                    <a:lnTo>
                      <a:pt x="186" y="60"/>
                    </a:lnTo>
                    <a:lnTo>
                      <a:pt x="186" y="59"/>
                    </a:lnTo>
                    <a:lnTo>
                      <a:pt x="188" y="59"/>
                    </a:lnTo>
                    <a:close/>
                    <a:moveTo>
                      <a:pt x="178" y="60"/>
                    </a:moveTo>
                    <a:lnTo>
                      <a:pt x="180" y="62"/>
                    </a:lnTo>
                    <a:lnTo>
                      <a:pt x="175" y="62"/>
                    </a:lnTo>
                    <a:lnTo>
                      <a:pt x="173" y="59"/>
                    </a:lnTo>
                    <a:lnTo>
                      <a:pt x="175" y="57"/>
                    </a:lnTo>
                    <a:lnTo>
                      <a:pt x="178" y="60"/>
                    </a:lnTo>
                    <a:close/>
                    <a:moveTo>
                      <a:pt x="183" y="57"/>
                    </a:moveTo>
                    <a:lnTo>
                      <a:pt x="186" y="57"/>
                    </a:lnTo>
                    <a:lnTo>
                      <a:pt x="186" y="67"/>
                    </a:lnTo>
                    <a:lnTo>
                      <a:pt x="181" y="62"/>
                    </a:lnTo>
                    <a:lnTo>
                      <a:pt x="183" y="57"/>
                    </a:lnTo>
                    <a:close/>
                    <a:moveTo>
                      <a:pt x="129" y="62"/>
                    </a:moveTo>
                    <a:lnTo>
                      <a:pt x="127" y="57"/>
                    </a:lnTo>
                    <a:lnTo>
                      <a:pt x="130" y="56"/>
                    </a:lnTo>
                    <a:lnTo>
                      <a:pt x="135" y="60"/>
                    </a:lnTo>
                    <a:lnTo>
                      <a:pt x="140" y="60"/>
                    </a:lnTo>
                    <a:lnTo>
                      <a:pt x="150" y="68"/>
                    </a:lnTo>
                    <a:lnTo>
                      <a:pt x="150" y="76"/>
                    </a:lnTo>
                    <a:lnTo>
                      <a:pt x="146" y="83"/>
                    </a:lnTo>
                    <a:lnTo>
                      <a:pt x="145" y="80"/>
                    </a:lnTo>
                    <a:lnTo>
                      <a:pt x="145" y="84"/>
                    </a:lnTo>
                    <a:lnTo>
                      <a:pt x="135" y="84"/>
                    </a:lnTo>
                    <a:lnTo>
                      <a:pt x="134" y="83"/>
                    </a:lnTo>
                    <a:lnTo>
                      <a:pt x="135" y="80"/>
                    </a:lnTo>
                    <a:lnTo>
                      <a:pt x="138" y="81"/>
                    </a:lnTo>
                    <a:lnTo>
                      <a:pt x="146" y="68"/>
                    </a:lnTo>
                    <a:lnTo>
                      <a:pt x="143" y="67"/>
                    </a:lnTo>
                    <a:lnTo>
                      <a:pt x="142" y="72"/>
                    </a:lnTo>
                    <a:lnTo>
                      <a:pt x="138" y="72"/>
                    </a:lnTo>
                    <a:lnTo>
                      <a:pt x="137" y="75"/>
                    </a:lnTo>
                    <a:lnTo>
                      <a:pt x="129" y="62"/>
                    </a:lnTo>
                    <a:close/>
                    <a:moveTo>
                      <a:pt x="178" y="56"/>
                    </a:moveTo>
                    <a:lnTo>
                      <a:pt x="180" y="57"/>
                    </a:lnTo>
                    <a:lnTo>
                      <a:pt x="180" y="62"/>
                    </a:lnTo>
                    <a:lnTo>
                      <a:pt x="177" y="57"/>
                    </a:lnTo>
                    <a:lnTo>
                      <a:pt x="177" y="54"/>
                    </a:lnTo>
                    <a:lnTo>
                      <a:pt x="178" y="56"/>
                    </a:lnTo>
                    <a:close/>
                    <a:moveTo>
                      <a:pt x="181" y="56"/>
                    </a:moveTo>
                    <a:lnTo>
                      <a:pt x="178" y="56"/>
                    </a:lnTo>
                    <a:lnTo>
                      <a:pt x="178" y="54"/>
                    </a:lnTo>
                    <a:lnTo>
                      <a:pt x="181" y="56"/>
                    </a:lnTo>
                    <a:close/>
                    <a:moveTo>
                      <a:pt x="23" y="52"/>
                    </a:moveTo>
                    <a:lnTo>
                      <a:pt x="27" y="62"/>
                    </a:lnTo>
                    <a:lnTo>
                      <a:pt x="33" y="68"/>
                    </a:lnTo>
                    <a:lnTo>
                      <a:pt x="25" y="75"/>
                    </a:lnTo>
                    <a:lnTo>
                      <a:pt x="19" y="65"/>
                    </a:lnTo>
                    <a:lnTo>
                      <a:pt x="20" y="64"/>
                    </a:lnTo>
                    <a:lnTo>
                      <a:pt x="17" y="62"/>
                    </a:lnTo>
                    <a:lnTo>
                      <a:pt x="20" y="56"/>
                    </a:lnTo>
                    <a:lnTo>
                      <a:pt x="23" y="52"/>
                    </a:lnTo>
                    <a:close/>
                    <a:moveTo>
                      <a:pt x="103" y="59"/>
                    </a:moveTo>
                    <a:lnTo>
                      <a:pt x="105" y="73"/>
                    </a:lnTo>
                    <a:lnTo>
                      <a:pt x="102" y="65"/>
                    </a:lnTo>
                    <a:lnTo>
                      <a:pt x="90" y="59"/>
                    </a:lnTo>
                    <a:lnTo>
                      <a:pt x="94" y="54"/>
                    </a:lnTo>
                    <a:lnTo>
                      <a:pt x="97" y="52"/>
                    </a:lnTo>
                    <a:lnTo>
                      <a:pt x="103" y="54"/>
                    </a:lnTo>
                    <a:lnTo>
                      <a:pt x="103" y="59"/>
                    </a:lnTo>
                    <a:close/>
                    <a:moveTo>
                      <a:pt x="76" y="52"/>
                    </a:moveTo>
                    <a:lnTo>
                      <a:pt x="79" y="54"/>
                    </a:lnTo>
                    <a:lnTo>
                      <a:pt x="81" y="51"/>
                    </a:lnTo>
                    <a:lnTo>
                      <a:pt x="84" y="54"/>
                    </a:lnTo>
                    <a:lnTo>
                      <a:pt x="87" y="51"/>
                    </a:lnTo>
                    <a:lnTo>
                      <a:pt x="90" y="56"/>
                    </a:lnTo>
                    <a:lnTo>
                      <a:pt x="89" y="57"/>
                    </a:lnTo>
                    <a:lnTo>
                      <a:pt x="90" y="60"/>
                    </a:lnTo>
                    <a:lnTo>
                      <a:pt x="102" y="67"/>
                    </a:lnTo>
                    <a:lnTo>
                      <a:pt x="108" y="94"/>
                    </a:lnTo>
                    <a:lnTo>
                      <a:pt x="114" y="99"/>
                    </a:lnTo>
                    <a:lnTo>
                      <a:pt x="110" y="103"/>
                    </a:lnTo>
                    <a:lnTo>
                      <a:pt x="106" y="105"/>
                    </a:lnTo>
                    <a:lnTo>
                      <a:pt x="103" y="103"/>
                    </a:lnTo>
                    <a:lnTo>
                      <a:pt x="100" y="92"/>
                    </a:lnTo>
                    <a:lnTo>
                      <a:pt x="89" y="88"/>
                    </a:lnTo>
                    <a:lnTo>
                      <a:pt x="92" y="73"/>
                    </a:lnTo>
                    <a:lnTo>
                      <a:pt x="95" y="73"/>
                    </a:lnTo>
                    <a:lnTo>
                      <a:pt x="97" y="65"/>
                    </a:lnTo>
                    <a:lnTo>
                      <a:pt x="94" y="65"/>
                    </a:lnTo>
                    <a:lnTo>
                      <a:pt x="95" y="70"/>
                    </a:lnTo>
                    <a:lnTo>
                      <a:pt x="90" y="73"/>
                    </a:lnTo>
                    <a:lnTo>
                      <a:pt x="81" y="57"/>
                    </a:lnTo>
                    <a:lnTo>
                      <a:pt x="90" y="75"/>
                    </a:lnTo>
                    <a:lnTo>
                      <a:pt x="89" y="80"/>
                    </a:lnTo>
                    <a:lnTo>
                      <a:pt x="84" y="80"/>
                    </a:lnTo>
                    <a:lnTo>
                      <a:pt x="81" y="83"/>
                    </a:lnTo>
                    <a:lnTo>
                      <a:pt x="79" y="78"/>
                    </a:lnTo>
                    <a:lnTo>
                      <a:pt x="75" y="76"/>
                    </a:lnTo>
                    <a:lnTo>
                      <a:pt x="76" y="73"/>
                    </a:lnTo>
                    <a:lnTo>
                      <a:pt x="73" y="72"/>
                    </a:lnTo>
                    <a:lnTo>
                      <a:pt x="70" y="75"/>
                    </a:lnTo>
                    <a:lnTo>
                      <a:pt x="68" y="72"/>
                    </a:lnTo>
                    <a:lnTo>
                      <a:pt x="65" y="59"/>
                    </a:lnTo>
                    <a:lnTo>
                      <a:pt x="75" y="51"/>
                    </a:lnTo>
                    <a:lnTo>
                      <a:pt x="76" y="52"/>
                    </a:lnTo>
                    <a:close/>
                    <a:moveTo>
                      <a:pt x="110" y="49"/>
                    </a:moveTo>
                    <a:lnTo>
                      <a:pt x="111" y="51"/>
                    </a:lnTo>
                    <a:lnTo>
                      <a:pt x="110" y="52"/>
                    </a:lnTo>
                    <a:lnTo>
                      <a:pt x="110" y="49"/>
                    </a:lnTo>
                    <a:close/>
                    <a:moveTo>
                      <a:pt x="122" y="49"/>
                    </a:moveTo>
                    <a:lnTo>
                      <a:pt x="119" y="54"/>
                    </a:lnTo>
                    <a:lnTo>
                      <a:pt x="124" y="56"/>
                    </a:lnTo>
                    <a:lnTo>
                      <a:pt x="121" y="60"/>
                    </a:lnTo>
                    <a:lnTo>
                      <a:pt x="119" y="56"/>
                    </a:lnTo>
                    <a:lnTo>
                      <a:pt x="114" y="52"/>
                    </a:lnTo>
                    <a:lnTo>
                      <a:pt x="116" y="49"/>
                    </a:lnTo>
                    <a:lnTo>
                      <a:pt x="122" y="49"/>
                    </a:lnTo>
                    <a:close/>
                    <a:moveTo>
                      <a:pt x="140" y="49"/>
                    </a:moveTo>
                    <a:lnTo>
                      <a:pt x="137" y="48"/>
                    </a:lnTo>
                    <a:lnTo>
                      <a:pt x="138" y="44"/>
                    </a:lnTo>
                    <a:lnTo>
                      <a:pt x="140" y="49"/>
                    </a:lnTo>
                    <a:close/>
                    <a:moveTo>
                      <a:pt x="118" y="44"/>
                    </a:moveTo>
                    <a:lnTo>
                      <a:pt x="121" y="44"/>
                    </a:lnTo>
                    <a:lnTo>
                      <a:pt x="124" y="48"/>
                    </a:lnTo>
                    <a:lnTo>
                      <a:pt x="124" y="52"/>
                    </a:lnTo>
                    <a:lnTo>
                      <a:pt x="121" y="54"/>
                    </a:lnTo>
                    <a:lnTo>
                      <a:pt x="122" y="49"/>
                    </a:lnTo>
                    <a:lnTo>
                      <a:pt x="119" y="49"/>
                    </a:lnTo>
                    <a:lnTo>
                      <a:pt x="118" y="44"/>
                    </a:lnTo>
                    <a:close/>
                    <a:moveTo>
                      <a:pt x="126" y="44"/>
                    </a:moveTo>
                    <a:lnTo>
                      <a:pt x="127" y="60"/>
                    </a:lnTo>
                    <a:lnTo>
                      <a:pt x="122" y="54"/>
                    </a:lnTo>
                    <a:lnTo>
                      <a:pt x="122" y="46"/>
                    </a:lnTo>
                    <a:lnTo>
                      <a:pt x="126" y="44"/>
                    </a:lnTo>
                    <a:close/>
                    <a:moveTo>
                      <a:pt x="164" y="46"/>
                    </a:moveTo>
                    <a:lnTo>
                      <a:pt x="159" y="49"/>
                    </a:lnTo>
                    <a:lnTo>
                      <a:pt x="167" y="59"/>
                    </a:lnTo>
                    <a:lnTo>
                      <a:pt x="165" y="62"/>
                    </a:lnTo>
                    <a:lnTo>
                      <a:pt x="156" y="56"/>
                    </a:lnTo>
                    <a:lnTo>
                      <a:pt x="151" y="46"/>
                    </a:lnTo>
                    <a:lnTo>
                      <a:pt x="156" y="49"/>
                    </a:lnTo>
                    <a:lnTo>
                      <a:pt x="162" y="44"/>
                    </a:lnTo>
                    <a:lnTo>
                      <a:pt x="164" y="46"/>
                    </a:lnTo>
                    <a:close/>
                    <a:moveTo>
                      <a:pt x="15" y="43"/>
                    </a:moveTo>
                    <a:lnTo>
                      <a:pt x="20" y="46"/>
                    </a:lnTo>
                    <a:lnTo>
                      <a:pt x="19" y="49"/>
                    </a:lnTo>
                    <a:lnTo>
                      <a:pt x="20" y="57"/>
                    </a:lnTo>
                    <a:lnTo>
                      <a:pt x="17" y="62"/>
                    </a:lnTo>
                    <a:lnTo>
                      <a:pt x="12" y="43"/>
                    </a:lnTo>
                    <a:lnTo>
                      <a:pt x="15" y="43"/>
                    </a:lnTo>
                    <a:close/>
                    <a:moveTo>
                      <a:pt x="150" y="59"/>
                    </a:moveTo>
                    <a:lnTo>
                      <a:pt x="145" y="62"/>
                    </a:lnTo>
                    <a:lnTo>
                      <a:pt x="140" y="59"/>
                    </a:lnTo>
                    <a:lnTo>
                      <a:pt x="138" y="41"/>
                    </a:lnTo>
                    <a:lnTo>
                      <a:pt x="145" y="44"/>
                    </a:lnTo>
                    <a:lnTo>
                      <a:pt x="150" y="59"/>
                    </a:lnTo>
                    <a:close/>
                    <a:moveTo>
                      <a:pt x="70" y="41"/>
                    </a:moveTo>
                    <a:lnTo>
                      <a:pt x="67" y="43"/>
                    </a:lnTo>
                    <a:lnTo>
                      <a:pt x="65" y="41"/>
                    </a:lnTo>
                    <a:lnTo>
                      <a:pt x="70" y="41"/>
                    </a:lnTo>
                    <a:close/>
                    <a:moveTo>
                      <a:pt x="162" y="41"/>
                    </a:moveTo>
                    <a:lnTo>
                      <a:pt x="162" y="44"/>
                    </a:lnTo>
                    <a:lnTo>
                      <a:pt x="159" y="46"/>
                    </a:lnTo>
                    <a:lnTo>
                      <a:pt x="158" y="43"/>
                    </a:lnTo>
                    <a:lnTo>
                      <a:pt x="161" y="43"/>
                    </a:lnTo>
                    <a:lnTo>
                      <a:pt x="162" y="40"/>
                    </a:lnTo>
                    <a:lnTo>
                      <a:pt x="162" y="41"/>
                    </a:lnTo>
                    <a:close/>
                    <a:moveTo>
                      <a:pt x="118" y="44"/>
                    </a:moveTo>
                    <a:lnTo>
                      <a:pt x="119" y="49"/>
                    </a:lnTo>
                    <a:lnTo>
                      <a:pt x="114" y="49"/>
                    </a:lnTo>
                    <a:lnTo>
                      <a:pt x="114" y="54"/>
                    </a:lnTo>
                    <a:lnTo>
                      <a:pt x="111" y="54"/>
                    </a:lnTo>
                    <a:lnTo>
                      <a:pt x="110" y="46"/>
                    </a:lnTo>
                    <a:lnTo>
                      <a:pt x="114" y="46"/>
                    </a:lnTo>
                    <a:lnTo>
                      <a:pt x="113" y="49"/>
                    </a:lnTo>
                    <a:lnTo>
                      <a:pt x="114" y="46"/>
                    </a:lnTo>
                    <a:lnTo>
                      <a:pt x="111" y="41"/>
                    </a:lnTo>
                    <a:lnTo>
                      <a:pt x="114" y="38"/>
                    </a:lnTo>
                    <a:lnTo>
                      <a:pt x="118" y="44"/>
                    </a:lnTo>
                    <a:close/>
                    <a:moveTo>
                      <a:pt x="73" y="41"/>
                    </a:moveTo>
                    <a:lnTo>
                      <a:pt x="70" y="40"/>
                    </a:lnTo>
                    <a:lnTo>
                      <a:pt x="71" y="38"/>
                    </a:lnTo>
                    <a:lnTo>
                      <a:pt x="73" y="41"/>
                    </a:lnTo>
                    <a:close/>
                    <a:moveTo>
                      <a:pt x="110" y="41"/>
                    </a:moveTo>
                    <a:lnTo>
                      <a:pt x="106" y="38"/>
                    </a:lnTo>
                    <a:lnTo>
                      <a:pt x="110" y="40"/>
                    </a:lnTo>
                    <a:lnTo>
                      <a:pt x="110" y="41"/>
                    </a:lnTo>
                    <a:close/>
                    <a:moveTo>
                      <a:pt x="137" y="44"/>
                    </a:moveTo>
                    <a:lnTo>
                      <a:pt x="132" y="40"/>
                    </a:lnTo>
                    <a:lnTo>
                      <a:pt x="134" y="38"/>
                    </a:lnTo>
                    <a:lnTo>
                      <a:pt x="140" y="40"/>
                    </a:lnTo>
                    <a:lnTo>
                      <a:pt x="137" y="44"/>
                    </a:lnTo>
                    <a:close/>
                    <a:moveTo>
                      <a:pt x="132" y="40"/>
                    </a:moveTo>
                    <a:lnTo>
                      <a:pt x="130" y="38"/>
                    </a:lnTo>
                    <a:lnTo>
                      <a:pt x="134" y="36"/>
                    </a:lnTo>
                    <a:lnTo>
                      <a:pt x="132" y="40"/>
                    </a:lnTo>
                    <a:close/>
                    <a:moveTo>
                      <a:pt x="108" y="36"/>
                    </a:moveTo>
                    <a:lnTo>
                      <a:pt x="111" y="36"/>
                    </a:lnTo>
                    <a:lnTo>
                      <a:pt x="113" y="44"/>
                    </a:lnTo>
                    <a:lnTo>
                      <a:pt x="108" y="44"/>
                    </a:lnTo>
                    <a:lnTo>
                      <a:pt x="110" y="38"/>
                    </a:lnTo>
                    <a:lnTo>
                      <a:pt x="105" y="38"/>
                    </a:lnTo>
                    <a:lnTo>
                      <a:pt x="105" y="35"/>
                    </a:lnTo>
                    <a:lnTo>
                      <a:pt x="108" y="36"/>
                    </a:lnTo>
                    <a:close/>
                    <a:moveTo>
                      <a:pt x="100" y="33"/>
                    </a:moveTo>
                    <a:lnTo>
                      <a:pt x="105" y="49"/>
                    </a:lnTo>
                    <a:lnTo>
                      <a:pt x="100" y="49"/>
                    </a:lnTo>
                    <a:lnTo>
                      <a:pt x="100" y="44"/>
                    </a:lnTo>
                    <a:lnTo>
                      <a:pt x="100" y="51"/>
                    </a:lnTo>
                    <a:lnTo>
                      <a:pt x="98" y="51"/>
                    </a:lnTo>
                    <a:lnTo>
                      <a:pt x="90" y="38"/>
                    </a:lnTo>
                    <a:lnTo>
                      <a:pt x="100" y="33"/>
                    </a:lnTo>
                    <a:close/>
                    <a:moveTo>
                      <a:pt x="114" y="38"/>
                    </a:moveTo>
                    <a:lnTo>
                      <a:pt x="111" y="38"/>
                    </a:lnTo>
                    <a:lnTo>
                      <a:pt x="111" y="33"/>
                    </a:lnTo>
                    <a:lnTo>
                      <a:pt x="114" y="38"/>
                    </a:lnTo>
                    <a:close/>
                    <a:moveTo>
                      <a:pt x="110" y="33"/>
                    </a:moveTo>
                    <a:lnTo>
                      <a:pt x="106" y="32"/>
                    </a:lnTo>
                    <a:lnTo>
                      <a:pt x="106" y="30"/>
                    </a:lnTo>
                    <a:lnTo>
                      <a:pt x="110" y="33"/>
                    </a:lnTo>
                    <a:close/>
                    <a:moveTo>
                      <a:pt x="110" y="27"/>
                    </a:moveTo>
                    <a:lnTo>
                      <a:pt x="110" y="30"/>
                    </a:lnTo>
                    <a:lnTo>
                      <a:pt x="108" y="28"/>
                    </a:lnTo>
                    <a:lnTo>
                      <a:pt x="105" y="32"/>
                    </a:lnTo>
                    <a:lnTo>
                      <a:pt x="106" y="32"/>
                    </a:lnTo>
                    <a:lnTo>
                      <a:pt x="106" y="35"/>
                    </a:lnTo>
                    <a:lnTo>
                      <a:pt x="105" y="35"/>
                    </a:lnTo>
                    <a:lnTo>
                      <a:pt x="105" y="32"/>
                    </a:lnTo>
                    <a:lnTo>
                      <a:pt x="103" y="33"/>
                    </a:lnTo>
                    <a:lnTo>
                      <a:pt x="103" y="28"/>
                    </a:lnTo>
                    <a:lnTo>
                      <a:pt x="110" y="27"/>
                    </a:lnTo>
                    <a:close/>
                    <a:moveTo>
                      <a:pt x="126" y="44"/>
                    </a:moveTo>
                    <a:lnTo>
                      <a:pt x="121" y="40"/>
                    </a:lnTo>
                    <a:lnTo>
                      <a:pt x="124" y="46"/>
                    </a:lnTo>
                    <a:lnTo>
                      <a:pt x="118" y="44"/>
                    </a:lnTo>
                    <a:lnTo>
                      <a:pt x="110" y="30"/>
                    </a:lnTo>
                    <a:lnTo>
                      <a:pt x="116" y="27"/>
                    </a:lnTo>
                    <a:lnTo>
                      <a:pt x="127" y="30"/>
                    </a:lnTo>
                    <a:lnTo>
                      <a:pt x="132" y="36"/>
                    </a:lnTo>
                    <a:lnTo>
                      <a:pt x="130" y="40"/>
                    </a:lnTo>
                    <a:lnTo>
                      <a:pt x="124" y="36"/>
                    </a:lnTo>
                    <a:lnTo>
                      <a:pt x="137" y="44"/>
                    </a:lnTo>
                    <a:lnTo>
                      <a:pt x="140" y="60"/>
                    </a:lnTo>
                    <a:lnTo>
                      <a:pt x="135" y="60"/>
                    </a:lnTo>
                    <a:lnTo>
                      <a:pt x="134" y="56"/>
                    </a:lnTo>
                    <a:lnTo>
                      <a:pt x="126" y="54"/>
                    </a:lnTo>
                    <a:lnTo>
                      <a:pt x="127" y="51"/>
                    </a:lnTo>
                    <a:lnTo>
                      <a:pt x="126" y="44"/>
                    </a:lnTo>
                    <a:close/>
                    <a:moveTo>
                      <a:pt x="78" y="27"/>
                    </a:moveTo>
                    <a:lnTo>
                      <a:pt x="87" y="35"/>
                    </a:lnTo>
                    <a:lnTo>
                      <a:pt x="95" y="52"/>
                    </a:lnTo>
                    <a:lnTo>
                      <a:pt x="89" y="52"/>
                    </a:lnTo>
                    <a:lnTo>
                      <a:pt x="90" y="51"/>
                    </a:lnTo>
                    <a:lnTo>
                      <a:pt x="83" y="46"/>
                    </a:lnTo>
                    <a:lnTo>
                      <a:pt x="89" y="51"/>
                    </a:lnTo>
                    <a:lnTo>
                      <a:pt x="86" y="51"/>
                    </a:lnTo>
                    <a:lnTo>
                      <a:pt x="84" y="54"/>
                    </a:lnTo>
                    <a:lnTo>
                      <a:pt x="81" y="51"/>
                    </a:lnTo>
                    <a:lnTo>
                      <a:pt x="79" y="52"/>
                    </a:lnTo>
                    <a:lnTo>
                      <a:pt x="75" y="51"/>
                    </a:lnTo>
                    <a:lnTo>
                      <a:pt x="71" y="52"/>
                    </a:lnTo>
                    <a:lnTo>
                      <a:pt x="71" y="48"/>
                    </a:lnTo>
                    <a:lnTo>
                      <a:pt x="67" y="43"/>
                    </a:lnTo>
                    <a:lnTo>
                      <a:pt x="75" y="43"/>
                    </a:lnTo>
                    <a:lnTo>
                      <a:pt x="70" y="35"/>
                    </a:lnTo>
                    <a:lnTo>
                      <a:pt x="71" y="32"/>
                    </a:lnTo>
                    <a:lnTo>
                      <a:pt x="70" y="38"/>
                    </a:lnTo>
                    <a:lnTo>
                      <a:pt x="67" y="32"/>
                    </a:lnTo>
                    <a:lnTo>
                      <a:pt x="70" y="27"/>
                    </a:lnTo>
                    <a:lnTo>
                      <a:pt x="71" y="28"/>
                    </a:lnTo>
                    <a:lnTo>
                      <a:pt x="78" y="25"/>
                    </a:lnTo>
                    <a:lnTo>
                      <a:pt x="78" y="27"/>
                    </a:lnTo>
                    <a:close/>
                    <a:moveTo>
                      <a:pt x="127" y="27"/>
                    </a:moveTo>
                    <a:lnTo>
                      <a:pt x="119" y="28"/>
                    </a:lnTo>
                    <a:lnTo>
                      <a:pt x="118" y="25"/>
                    </a:lnTo>
                    <a:lnTo>
                      <a:pt x="127" y="24"/>
                    </a:lnTo>
                    <a:lnTo>
                      <a:pt x="127" y="27"/>
                    </a:lnTo>
                    <a:close/>
                    <a:moveTo>
                      <a:pt x="127" y="14"/>
                    </a:moveTo>
                    <a:lnTo>
                      <a:pt x="127" y="19"/>
                    </a:lnTo>
                    <a:lnTo>
                      <a:pt x="126" y="14"/>
                    </a:lnTo>
                    <a:lnTo>
                      <a:pt x="127" y="14"/>
                    </a:lnTo>
                    <a:close/>
                    <a:moveTo>
                      <a:pt x="68" y="16"/>
                    </a:moveTo>
                    <a:lnTo>
                      <a:pt x="78" y="24"/>
                    </a:lnTo>
                    <a:lnTo>
                      <a:pt x="75" y="27"/>
                    </a:lnTo>
                    <a:lnTo>
                      <a:pt x="71" y="28"/>
                    </a:lnTo>
                    <a:lnTo>
                      <a:pt x="68" y="27"/>
                    </a:lnTo>
                    <a:lnTo>
                      <a:pt x="67" y="32"/>
                    </a:lnTo>
                    <a:lnTo>
                      <a:pt x="62" y="28"/>
                    </a:lnTo>
                    <a:lnTo>
                      <a:pt x="63" y="24"/>
                    </a:lnTo>
                    <a:lnTo>
                      <a:pt x="60" y="24"/>
                    </a:lnTo>
                    <a:lnTo>
                      <a:pt x="62" y="30"/>
                    </a:lnTo>
                    <a:lnTo>
                      <a:pt x="67" y="32"/>
                    </a:lnTo>
                    <a:lnTo>
                      <a:pt x="70" y="38"/>
                    </a:lnTo>
                    <a:lnTo>
                      <a:pt x="67" y="41"/>
                    </a:lnTo>
                    <a:lnTo>
                      <a:pt x="59" y="36"/>
                    </a:lnTo>
                    <a:lnTo>
                      <a:pt x="55" y="20"/>
                    </a:lnTo>
                    <a:lnTo>
                      <a:pt x="60" y="19"/>
                    </a:lnTo>
                    <a:lnTo>
                      <a:pt x="59" y="16"/>
                    </a:lnTo>
                    <a:lnTo>
                      <a:pt x="65" y="16"/>
                    </a:lnTo>
                    <a:lnTo>
                      <a:pt x="68" y="14"/>
                    </a:lnTo>
                    <a:lnTo>
                      <a:pt x="68" y="16"/>
                    </a:lnTo>
                    <a:close/>
                    <a:moveTo>
                      <a:pt x="126" y="22"/>
                    </a:moveTo>
                    <a:lnTo>
                      <a:pt x="124" y="22"/>
                    </a:lnTo>
                    <a:lnTo>
                      <a:pt x="122" y="13"/>
                    </a:lnTo>
                    <a:lnTo>
                      <a:pt x="126" y="22"/>
                    </a:lnTo>
                    <a:close/>
                    <a:moveTo>
                      <a:pt x="92" y="16"/>
                    </a:moveTo>
                    <a:lnTo>
                      <a:pt x="90" y="13"/>
                    </a:lnTo>
                    <a:lnTo>
                      <a:pt x="92" y="9"/>
                    </a:lnTo>
                    <a:lnTo>
                      <a:pt x="92" y="16"/>
                    </a:lnTo>
                    <a:close/>
                    <a:moveTo>
                      <a:pt x="97" y="13"/>
                    </a:moveTo>
                    <a:lnTo>
                      <a:pt x="100" y="13"/>
                    </a:lnTo>
                    <a:lnTo>
                      <a:pt x="100" y="17"/>
                    </a:lnTo>
                    <a:lnTo>
                      <a:pt x="111" y="13"/>
                    </a:lnTo>
                    <a:lnTo>
                      <a:pt x="110" y="19"/>
                    </a:lnTo>
                    <a:lnTo>
                      <a:pt x="114" y="27"/>
                    </a:lnTo>
                    <a:lnTo>
                      <a:pt x="110" y="28"/>
                    </a:lnTo>
                    <a:lnTo>
                      <a:pt x="108" y="25"/>
                    </a:lnTo>
                    <a:lnTo>
                      <a:pt x="108" y="28"/>
                    </a:lnTo>
                    <a:lnTo>
                      <a:pt x="102" y="27"/>
                    </a:lnTo>
                    <a:lnTo>
                      <a:pt x="100" y="20"/>
                    </a:lnTo>
                    <a:lnTo>
                      <a:pt x="94" y="13"/>
                    </a:lnTo>
                    <a:lnTo>
                      <a:pt x="95" y="8"/>
                    </a:lnTo>
                    <a:lnTo>
                      <a:pt x="97" y="13"/>
                    </a:lnTo>
                    <a:close/>
                    <a:moveTo>
                      <a:pt x="95" y="16"/>
                    </a:moveTo>
                    <a:lnTo>
                      <a:pt x="92" y="13"/>
                    </a:lnTo>
                    <a:lnTo>
                      <a:pt x="94" y="8"/>
                    </a:lnTo>
                    <a:lnTo>
                      <a:pt x="95" y="16"/>
                    </a:lnTo>
                    <a:close/>
                    <a:moveTo>
                      <a:pt x="95" y="8"/>
                    </a:moveTo>
                    <a:lnTo>
                      <a:pt x="92" y="8"/>
                    </a:lnTo>
                    <a:lnTo>
                      <a:pt x="95" y="8"/>
                    </a:lnTo>
                    <a:close/>
                    <a:moveTo>
                      <a:pt x="84" y="8"/>
                    </a:moveTo>
                    <a:lnTo>
                      <a:pt x="89" y="8"/>
                    </a:lnTo>
                    <a:lnTo>
                      <a:pt x="89" y="11"/>
                    </a:lnTo>
                    <a:lnTo>
                      <a:pt x="87" y="14"/>
                    </a:lnTo>
                    <a:lnTo>
                      <a:pt x="89" y="17"/>
                    </a:lnTo>
                    <a:lnTo>
                      <a:pt x="97" y="16"/>
                    </a:lnTo>
                    <a:lnTo>
                      <a:pt x="100" y="20"/>
                    </a:lnTo>
                    <a:lnTo>
                      <a:pt x="100" y="32"/>
                    </a:lnTo>
                    <a:lnTo>
                      <a:pt x="95" y="36"/>
                    </a:lnTo>
                    <a:lnTo>
                      <a:pt x="90" y="36"/>
                    </a:lnTo>
                    <a:lnTo>
                      <a:pt x="84" y="30"/>
                    </a:lnTo>
                    <a:lnTo>
                      <a:pt x="78" y="27"/>
                    </a:lnTo>
                    <a:lnTo>
                      <a:pt x="81" y="19"/>
                    </a:lnTo>
                    <a:lnTo>
                      <a:pt x="78" y="9"/>
                    </a:lnTo>
                    <a:lnTo>
                      <a:pt x="84" y="8"/>
                    </a:lnTo>
                    <a:close/>
                    <a:moveTo>
                      <a:pt x="51" y="8"/>
                    </a:moveTo>
                    <a:lnTo>
                      <a:pt x="49" y="3"/>
                    </a:lnTo>
                    <a:lnTo>
                      <a:pt x="52" y="5"/>
                    </a:lnTo>
                    <a:lnTo>
                      <a:pt x="51" y="8"/>
                    </a:lnTo>
                    <a:close/>
                    <a:moveTo>
                      <a:pt x="81" y="6"/>
                    </a:moveTo>
                    <a:lnTo>
                      <a:pt x="76" y="13"/>
                    </a:lnTo>
                    <a:lnTo>
                      <a:pt x="78" y="19"/>
                    </a:lnTo>
                    <a:lnTo>
                      <a:pt x="81" y="20"/>
                    </a:lnTo>
                    <a:lnTo>
                      <a:pt x="79" y="22"/>
                    </a:lnTo>
                    <a:lnTo>
                      <a:pt x="71" y="19"/>
                    </a:lnTo>
                    <a:lnTo>
                      <a:pt x="68" y="13"/>
                    </a:lnTo>
                    <a:lnTo>
                      <a:pt x="65" y="16"/>
                    </a:lnTo>
                    <a:lnTo>
                      <a:pt x="59" y="16"/>
                    </a:lnTo>
                    <a:lnTo>
                      <a:pt x="54" y="19"/>
                    </a:lnTo>
                    <a:lnTo>
                      <a:pt x="54" y="11"/>
                    </a:lnTo>
                    <a:lnTo>
                      <a:pt x="51" y="8"/>
                    </a:lnTo>
                    <a:lnTo>
                      <a:pt x="57" y="5"/>
                    </a:lnTo>
                    <a:lnTo>
                      <a:pt x="67" y="8"/>
                    </a:lnTo>
                    <a:lnTo>
                      <a:pt x="68" y="0"/>
                    </a:lnTo>
                    <a:lnTo>
                      <a:pt x="81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pPr algn="ctr"/>
                <a:endParaRPr lang="en-US" sz="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DAA574E0-5F41-483A-87CA-B92131541261}"/>
                </a:ext>
              </a:extLst>
            </p:cNvPr>
            <p:cNvGrpSpPr/>
            <p:nvPr/>
          </p:nvGrpSpPr>
          <p:grpSpPr>
            <a:xfrm>
              <a:off x="5121275" y="5399088"/>
              <a:ext cx="669925" cy="544512"/>
              <a:chOff x="5121275" y="5399088"/>
              <a:chExt cx="669925" cy="544512"/>
            </a:xfrm>
            <a:grpFill/>
          </p:grpSpPr>
          <p:sp>
            <p:nvSpPr>
              <p:cNvPr id="49" name="Freeform 219">
                <a:extLst>
                  <a:ext uri="{FF2B5EF4-FFF2-40B4-BE49-F238E27FC236}">
                    <a16:creationId xmlns:a16="http://schemas.microsoft.com/office/drawing/2014/main" id="{055ACCD7-D3A2-4EDA-B811-51BF705F9F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95888" y="5588000"/>
                <a:ext cx="481012" cy="355600"/>
              </a:xfrm>
              <a:custGeom>
                <a:avLst/>
                <a:gdLst>
                  <a:gd name="T0" fmla="*/ 76 w 303"/>
                  <a:gd name="T1" fmla="*/ 193 h 224"/>
                  <a:gd name="T2" fmla="*/ 244 w 303"/>
                  <a:gd name="T3" fmla="*/ 184 h 224"/>
                  <a:gd name="T4" fmla="*/ 171 w 303"/>
                  <a:gd name="T5" fmla="*/ 181 h 224"/>
                  <a:gd name="T6" fmla="*/ 169 w 303"/>
                  <a:gd name="T7" fmla="*/ 203 h 224"/>
                  <a:gd name="T8" fmla="*/ 161 w 303"/>
                  <a:gd name="T9" fmla="*/ 211 h 224"/>
                  <a:gd name="T10" fmla="*/ 143 w 303"/>
                  <a:gd name="T11" fmla="*/ 213 h 224"/>
                  <a:gd name="T12" fmla="*/ 118 w 303"/>
                  <a:gd name="T13" fmla="*/ 219 h 224"/>
                  <a:gd name="T14" fmla="*/ 86 w 303"/>
                  <a:gd name="T15" fmla="*/ 211 h 224"/>
                  <a:gd name="T16" fmla="*/ 67 w 303"/>
                  <a:gd name="T17" fmla="*/ 193 h 224"/>
                  <a:gd name="T18" fmla="*/ 99 w 303"/>
                  <a:gd name="T19" fmla="*/ 193 h 224"/>
                  <a:gd name="T20" fmla="*/ 111 w 303"/>
                  <a:gd name="T21" fmla="*/ 190 h 224"/>
                  <a:gd name="T22" fmla="*/ 124 w 303"/>
                  <a:gd name="T23" fmla="*/ 190 h 224"/>
                  <a:gd name="T24" fmla="*/ 148 w 303"/>
                  <a:gd name="T25" fmla="*/ 179 h 224"/>
                  <a:gd name="T26" fmla="*/ 265 w 303"/>
                  <a:gd name="T27" fmla="*/ 169 h 224"/>
                  <a:gd name="T28" fmla="*/ 303 w 303"/>
                  <a:gd name="T29" fmla="*/ 149 h 224"/>
                  <a:gd name="T30" fmla="*/ 46 w 303"/>
                  <a:gd name="T31" fmla="*/ 144 h 224"/>
                  <a:gd name="T32" fmla="*/ 60 w 303"/>
                  <a:gd name="T33" fmla="*/ 147 h 224"/>
                  <a:gd name="T34" fmla="*/ 62 w 303"/>
                  <a:gd name="T35" fmla="*/ 147 h 224"/>
                  <a:gd name="T36" fmla="*/ 68 w 303"/>
                  <a:gd name="T37" fmla="*/ 155 h 224"/>
                  <a:gd name="T38" fmla="*/ 76 w 303"/>
                  <a:gd name="T39" fmla="*/ 160 h 224"/>
                  <a:gd name="T40" fmla="*/ 59 w 303"/>
                  <a:gd name="T41" fmla="*/ 177 h 224"/>
                  <a:gd name="T42" fmla="*/ 70 w 303"/>
                  <a:gd name="T43" fmla="*/ 189 h 224"/>
                  <a:gd name="T44" fmla="*/ 46 w 303"/>
                  <a:gd name="T45" fmla="*/ 177 h 224"/>
                  <a:gd name="T46" fmla="*/ 78 w 303"/>
                  <a:gd name="T47" fmla="*/ 138 h 224"/>
                  <a:gd name="T48" fmla="*/ 78 w 303"/>
                  <a:gd name="T49" fmla="*/ 138 h 224"/>
                  <a:gd name="T50" fmla="*/ 97 w 303"/>
                  <a:gd name="T51" fmla="*/ 138 h 224"/>
                  <a:gd name="T52" fmla="*/ 105 w 303"/>
                  <a:gd name="T53" fmla="*/ 136 h 224"/>
                  <a:gd name="T54" fmla="*/ 84 w 303"/>
                  <a:gd name="T55" fmla="*/ 139 h 224"/>
                  <a:gd name="T56" fmla="*/ 88 w 303"/>
                  <a:gd name="T57" fmla="*/ 134 h 224"/>
                  <a:gd name="T58" fmla="*/ 86 w 303"/>
                  <a:gd name="T59" fmla="*/ 131 h 224"/>
                  <a:gd name="T60" fmla="*/ 60 w 303"/>
                  <a:gd name="T61" fmla="*/ 110 h 224"/>
                  <a:gd name="T62" fmla="*/ 60 w 303"/>
                  <a:gd name="T63" fmla="*/ 110 h 224"/>
                  <a:gd name="T64" fmla="*/ 105 w 303"/>
                  <a:gd name="T65" fmla="*/ 104 h 224"/>
                  <a:gd name="T66" fmla="*/ 51 w 303"/>
                  <a:gd name="T67" fmla="*/ 114 h 224"/>
                  <a:gd name="T68" fmla="*/ 27 w 303"/>
                  <a:gd name="T69" fmla="*/ 85 h 224"/>
                  <a:gd name="T70" fmla="*/ 44 w 303"/>
                  <a:gd name="T71" fmla="*/ 94 h 224"/>
                  <a:gd name="T72" fmla="*/ 46 w 303"/>
                  <a:gd name="T73" fmla="*/ 114 h 224"/>
                  <a:gd name="T74" fmla="*/ 41 w 303"/>
                  <a:gd name="T75" fmla="*/ 106 h 224"/>
                  <a:gd name="T76" fmla="*/ 51 w 303"/>
                  <a:gd name="T77" fmla="*/ 115 h 224"/>
                  <a:gd name="T78" fmla="*/ 22 w 303"/>
                  <a:gd name="T79" fmla="*/ 125 h 224"/>
                  <a:gd name="T80" fmla="*/ 11 w 303"/>
                  <a:gd name="T81" fmla="*/ 88 h 224"/>
                  <a:gd name="T82" fmla="*/ 89 w 303"/>
                  <a:gd name="T83" fmla="*/ 85 h 224"/>
                  <a:gd name="T84" fmla="*/ 110 w 303"/>
                  <a:gd name="T85" fmla="*/ 82 h 224"/>
                  <a:gd name="T86" fmla="*/ 65 w 303"/>
                  <a:gd name="T87" fmla="*/ 77 h 224"/>
                  <a:gd name="T88" fmla="*/ 72 w 303"/>
                  <a:gd name="T89" fmla="*/ 86 h 224"/>
                  <a:gd name="T90" fmla="*/ 81 w 303"/>
                  <a:gd name="T91" fmla="*/ 91 h 224"/>
                  <a:gd name="T92" fmla="*/ 70 w 303"/>
                  <a:gd name="T93" fmla="*/ 98 h 224"/>
                  <a:gd name="T94" fmla="*/ 75 w 303"/>
                  <a:gd name="T95" fmla="*/ 101 h 224"/>
                  <a:gd name="T96" fmla="*/ 65 w 303"/>
                  <a:gd name="T97" fmla="*/ 107 h 224"/>
                  <a:gd name="T98" fmla="*/ 70 w 303"/>
                  <a:gd name="T99" fmla="*/ 99 h 224"/>
                  <a:gd name="T100" fmla="*/ 65 w 303"/>
                  <a:gd name="T101" fmla="*/ 109 h 224"/>
                  <a:gd name="T102" fmla="*/ 56 w 303"/>
                  <a:gd name="T103" fmla="*/ 114 h 224"/>
                  <a:gd name="T104" fmla="*/ 56 w 303"/>
                  <a:gd name="T105" fmla="*/ 104 h 224"/>
                  <a:gd name="T106" fmla="*/ 60 w 303"/>
                  <a:gd name="T107" fmla="*/ 88 h 224"/>
                  <a:gd name="T108" fmla="*/ 51 w 303"/>
                  <a:gd name="T109" fmla="*/ 98 h 224"/>
                  <a:gd name="T110" fmla="*/ 56 w 303"/>
                  <a:gd name="T111" fmla="*/ 85 h 224"/>
                  <a:gd name="T112" fmla="*/ 76 w 303"/>
                  <a:gd name="T113" fmla="*/ 61 h 224"/>
                  <a:gd name="T114" fmla="*/ 72 w 303"/>
                  <a:gd name="T115" fmla="*/ 69 h 224"/>
                  <a:gd name="T116" fmla="*/ 64 w 303"/>
                  <a:gd name="T117" fmla="*/ 72 h 224"/>
                  <a:gd name="T118" fmla="*/ 38 w 303"/>
                  <a:gd name="T119" fmla="*/ 83 h 224"/>
                  <a:gd name="T120" fmla="*/ 57 w 303"/>
                  <a:gd name="T121" fmla="*/ 61 h 224"/>
                  <a:gd name="T122" fmla="*/ 91 w 303"/>
                  <a:gd name="T123" fmla="*/ 4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03" h="224">
                    <a:moveTo>
                      <a:pt x="76" y="193"/>
                    </a:moveTo>
                    <a:lnTo>
                      <a:pt x="73" y="192"/>
                    </a:lnTo>
                    <a:lnTo>
                      <a:pt x="76" y="192"/>
                    </a:lnTo>
                    <a:lnTo>
                      <a:pt x="76" y="193"/>
                    </a:lnTo>
                    <a:close/>
                    <a:moveTo>
                      <a:pt x="244" y="184"/>
                    </a:moveTo>
                    <a:lnTo>
                      <a:pt x="244" y="181"/>
                    </a:lnTo>
                    <a:lnTo>
                      <a:pt x="244" y="182"/>
                    </a:lnTo>
                    <a:lnTo>
                      <a:pt x="244" y="184"/>
                    </a:lnTo>
                    <a:close/>
                    <a:moveTo>
                      <a:pt x="148" y="179"/>
                    </a:moveTo>
                    <a:lnTo>
                      <a:pt x="155" y="181"/>
                    </a:lnTo>
                    <a:lnTo>
                      <a:pt x="158" y="185"/>
                    </a:lnTo>
                    <a:lnTo>
                      <a:pt x="171" y="181"/>
                    </a:lnTo>
                    <a:lnTo>
                      <a:pt x="174" y="181"/>
                    </a:lnTo>
                    <a:lnTo>
                      <a:pt x="178" y="189"/>
                    </a:lnTo>
                    <a:lnTo>
                      <a:pt x="175" y="201"/>
                    </a:lnTo>
                    <a:lnTo>
                      <a:pt x="169" y="203"/>
                    </a:lnTo>
                    <a:lnTo>
                      <a:pt x="169" y="200"/>
                    </a:lnTo>
                    <a:lnTo>
                      <a:pt x="164" y="209"/>
                    </a:lnTo>
                    <a:lnTo>
                      <a:pt x="163" y="208"/>
                    </a:lnTo>
                    <a:lnTo>
                      <a:pt x="161" y="211"/>
                    </a:lnTo>
                    <a:lnTo>
                      <a:pt x="159" y="206"/>
                    </a:lnTo>
                    <a:lnTo>
                      <a:pt x="155" y="208"/>
                    </a:lnTo>
                    <a:lnTo>
                      <a:pt x="147" y="206"/>
                    </a:lnTo>
                    <a:lnTo>
                      <a:pt x="143" y="213"/>
                    </a:lnTo>
                    <a:lnTo>
                      <a:pt x="140" y="211"/>
                    </a:lnTo>
                    <a:lnTo>
                      <a:pt x="134" y="213"/>
                    </a:lnTo>
                    <a:lnTo>
                      <a:pt x="127" y="220"/>
                    </a:lnTo>
                    <a:lnTo>
                      <a:pt x="118" y="219"/>
                    </a:lnTo>
                    <a:lnTo>
                      <a:pt x="116" y="224"/>
                    </a:lnTo>
                    <a:lnTo>
                      <a:pt x="110" y="222"/>
                    </a:lnTo>
                    <a:lnTo>
                      <a:pt x="97" y="213"/>
                    </a:lnTo>
                    <a:lnTo>
                      <a:pt x="86" y="211"/>
                    </a:lnTo>
                    <a:lnTo>
                      <a:pt x="80" y="205"/>
                    </a:lnTo>
                    <a:lnTo>
                      <a:pt x="72" y="203"/>
                    </a:lnTo>
                    <a:lnTo>
                      <a:pt x="72" y="197"/>
                    </a:lnTo>
                    <a:lnTo>
                      <a:pt x="67" y="193"/>
                    </a:lnTo>
                    <a:lnTo>
                      <a:pt x="72" y="192"/>
                    </a:lnTo>
                    <a:lnTo>
                      <a:pt x="83" y="193"/>
                    </a:lnTo>
                    <a:lnTo>
                      <a:pt x="92" y="189"/>
                    </a:lnTo>
                    <a:lnTo>
                      <a:pt x="99" y="193"/>
                    </a:lnTo>
                    <a:lnTo>
                      <a:pt x="107" y="189"/>
                    </a:lnTo>
                    <a:lnTo>
                      <a:pt x="110" y="190"/>
                    </a:lnTo>
                    <a:lnTo>
                      <a:pt x="110" y="185"/>
                    </a:lnTo>
                    <a:lnTo>
                      <a:pt x="111" y="190"/>
                    </a:lnTo>
                    <a:lnTo>
                      <a:pt x="111" y="187"/>
                    </a:lnTo>
                    <a:lnTo>
                      <a:pt x="115" y="189"/>
                    </a:lnTo>
                    <a:lnTo>
                      <a:pt x="119" y="187"/>
                    </a:lnTo>
                    <a:lnTo>
                      <a:pt x="124" y="190"/>
                    </a:lnTo>
                    <a:lnTo>
                      <a:pt x="129" y="184"/>
                    </a:lnTo>
                    <a:lnTo>
                      <a:pt x="137" y="187"/>
                    </a:lnTo>
                    <a:lnTo>
                      <a:pt x="148" y="182"/>
                    </a:lnTo>
                    <a:lnTo>
                      <a:pt x="148" y="179"/>
                    </a:lnTo>
                    <a:close/>
                    <a:moveTo>
                      <a:pt x="265" y="169"/>
                    </a:moveTo>
                    <a:lnTo>
                      <a:pt x="258" y="171"/>
                    </a:lnTo>
                    <a:lnTo>
                      <a:pt x="263" y="168"/>
                    </a:lnTo>
                    <a:lnTo>
                      <a:pt x="265" y="169"/>
                    </a:lnTo>
                    <a:close/>
                    <a:moveTo>
                      <a:pt x="293" y="153"/>
                    </a:moveTo>
                    <a:lnTo>
                      <a:pt x="289" y="153"/>
                    </a:lnTo>
                    <a:lnTo>
                      <a:pt x="297" y="149"/>
                    </a:lnTo>
                    <a:lnTo>
                      <a:pt x="303" y="149"/>
                    </a:lnTo>
                    <a:lnTo>
                      <a:pt x="293" y="153"/>
                    </a:lnTo>
                    <a:close/>
                    <a:moveTo>
                      <a:pt x="40" y="141"/>
                    </a:moveTo>
                    <a:lnTo>
                      <a:pt x="44" y="141"/>
                    </a:lnTo>
                    <a:lnTo>
                      <a:pt x="46" y="144"/>
                    </a:lnTo>
                    <a:lnTo>
                      <a:pt x="46" y="142"/>
                    </a:lnTo>
                    <a:lnTo>
                      <a:pt x="48" y="144"/>
                    </a:lnTo>
                    <a:lnTo>
                      <a:pt x="62" y="141"/>
                    </a:lnTo>
                    <a:lnTo>
                      <a:pt x="60" y="147"/>
                    </a:lnTo>
                    <a:lnTo>
                      <a:pt x="59" y="146"/>
                    </a:lnTo>
                    <a:lnTo>
                      <a:pt x="51" y="157"/>
                    </a:lnTo>
                    <a:lnTo>
                      <a:pt x="59" y="146"/>
                    </a:lnTo>
                    <a:lnTo>
                      <a:pt x="62" y="147"/>
                    </a:lnTo>
                    <a:lnTo>
                      <a:pt x="64" y="141"/>
                    </a:lnTo>
                    <a:lnTo>
                      <a:pt x="65" y="141"/>
                    </a:lnTo>
                    <a:lnTo>
                      <a:pt x="73" y="150"/>
                    </a:lnTo>
                    <a:lnTo>
                      <a:pt x="68" y="155"/>
                    </a:lnTo>
                    <a:lnTo>
                      <a:pt x="72" y="155"/>
                    </a:lnTo>
                    <a:lnTo>
                      <a:pt x="75" y="152"/>
                    </a:lnTo>
                    <a:lnTo>
                      <a:pt x="80" y="158"/>
                    </a:lnTo>
                    <a:lnTo>
                      <a:pt x="76" y="160"/>
                    </a:lnTo>
                    <a:lnTo>
                      <a:pt x="78" y="165"/>
                    </a:lnTo>
                    <a:lnTo>
                      <a:pt x="68" y="169"/>
                    </a:lnTo>
                    <a:lnTo>
                      <a:pt x="67" y="179"/>
                    </a:lnTo>
                    <a:lnTo>
                      <a:pt x="59" y="177"/>
                    </a:lnTo>
                    <a:lnTo>
                      <a:pt x="57" y="166"/>
                    </a:lnTo>
                    <a:lnTo>
                      <a:pt x="59" y="177"/>
                    </a:lnTo>
                    <a:lnTo>
                      <a:pt x="67" y="179"/>
                    </a:lnTo>
                    <a:lnTo>
                      <a:pt x="70" y="189"/>
                    </a:lnTo>
                    <a:lnTo>
                      <a:pt x="62" y="190"/>
                    </a:lnTo>
                    <a:lnTo>
                      <a:pt x="52" y="193"/>
                    </a:lnTo>
                    <a:lnTo>
                      <a:pt x="44" y="184"/>
                    </a:lnTo>
                    <a:lnTo>
                      <a:pt x="46" y="177"/>
                    </a:lnTo>
                    <a:lnTo>
                      <a:pt x="38" y="149"/>
                    </a:lnTo>
                    <a:lnTo>
                      <a:pt x="38" y="141"/>
                    </a:lnTo>
                    <a:lnTo>
                      <a:pt x="40" y="141"/>
                    </a:lnTo>
                    <a:close/>
                    <a:moveTo>
                      <a:pt x="78" y="138"/>
                    </a:moveTo>
                    <a:lnTo>
                      <a:pt x="81" y="138"/>
                    </a:lnTo>
                    <a:lnTo>
                      <a:pt x="83" y="141"/>
                    </a:lnTo>
                    <a:lnTo>
                      <a:pt x="70" y="141"/>
                    </a:lnTo>
                    <a:lnTo>
                      <a:pt x="78" y="138"/>
                    </a:lnTo>
                    <a:close/>
                    <a:moveTo>
                      <a:pt x="97" y="138"/>
                    </a:moveTo>
                    <a:lnTo>
                      <a:pt x="94" y="134"/>
                    </a:lnTo>
                    <a:lnTo>
                      <a:pt x="97" y="136"/>
                    </a:lnTo>
                    <a:lnTo>
                      <a:pt x="97" y="138"/>
                    </a:lnTo>
                    <a:close/>
                    <a:moveTo>
                      <a:pt x="105" y="136"/>
                    </a:moveTo>
                    <a:lnTo>
                      <a:pt x="100" y="136"/>
                    </a:lnTo>
                    <a:lnTo>
                      <a:pt x="107" y="134"/>
                    </a:lnTo>
                    <a:lnTo>
                      <a:pt x="105" y="136"/>
                    </a:lnTo>
                    <a:close/>
                    <a:moveTo>
                      <a:pt x="89" y="134"/>
                    </a:moveTo>
                    <a:lnTo>
                      <a:pt x="86" y="141"/>
                    </a:lnTo>
                    <a:lnTo>
                      <a:pt x="88" y="139"/>
                    </a:lnTo>
                    <a:lnTo>
                      <a:pt x="84" y="139"/>
                    </a:lnTo>
                    <a:lnTo>
                      <a:pt x="78" y="136"/>
                    </a:lnTo>
                    <a:lnTo>
                      <a:pt x="89" y="134"/>
                    </a:lnTo>
                    <a:close/>
                    <a:moveTo>
                      <a:pt x="83" y="133"/>
                    </a:moveTo>
                    <a:lnTo>
                      <a:pt x="88" y="134"/>
                    </a:lnTo>
                    <a:lnTo>
                      <a:pt x="83" y="136"/>
                    </a:lnTo>
                    <a:lnTo>
                      <a:pt x="80" y="134"/>
                    </a:lnTo>
                    <a:lnTo>
                      <a:pt x="83" y="133"/>
                    </a:lnTo>
                    <a:close/>
                    <a:moveTo>
                      <a:pt x="86" y="131"/>
                    </a:moveTo>
                    <a:lnTo>
                      <a:pt x="83" y="133"/>
                    </a:lnTo>
                    <a:lnTo>
                      <a:pt x="84" y="131"/>
                    </a:lnTo>
                    <a:lnTo>
                      <a:pt x="86" y="131"/>
                    </a:lnTo>
                    <a:close/>
                    <a:moveTo>
                      <a:pt x="60" y="110"/>
                    </a:moveTo>
                    <a:lnTo>
                      <a:pt x="56" y="114"/>
                    </a:lnTo>
                    <a:lnTo>
                      <a:pt x="56" y="106"/>
                    </a:lnTo>
                    <a:lnTo>
                      <a:pt x="59" y="106"/>
                    </a:lnTo>
                    <a:lnTo>
                      <a:pt x="60" y="110"/>
                    </a:lnTo>
                    <a:close/>
                    <a:moveTo>
                      <a:pt x="105" y="104"/>
                    </a:moveTo>
                    <a:lnTo>
                      <a:pt x="103" y="101"/>
                    </a:lnTo>
                    <a:lnTo>
                      <a:pt x="105" y="99"/>
                    </a:lnTo>
                    <a:lnTo>
                      <a:pt x="105" y="104"/>
                    </a:lnTo>
                    <a:close/>
                    <a:moveTo>
                      <a:pt x="51" y="101"/>
                    </a:moveTo>
                    <a:lnTo>
                      <a:pt x="56" y="102"/>
                    </a:lnTo>
                    <a:lnTo>
                      <a:pt x="54" y="114"/>
                    </a:lnTo>
                    <a:lnTo>
                      <a:pt x="51" y="114"/>
                    </a:lnTo>
                    <a:lnTo>
                      <a:pt x="46" y="106"/>
                    </a:lnTo>
                    <a:lnTo>
                      <a:pt x="46" y="99"/>
                    </a:lnTo>
                    <a:lnTo>
                      <a:pt x="51" y="101"/>
                    </a:lnTo>
                    <a:close/>
                    <a:moveTo>
                      <a:pt x="27" y="85"/>
                    </a:moveTo>
                    <a:lnTo>
                      <a:pt x="35" y="86"/>
                    </a:lnTo>
                    <a:lnTo>
                      <a:pt x="33" y="88"/>
                    </a:lnTo>
                    <a:lnTo>
                      <a:pt x="49" y="88"/>
                    </a:lnTo>
                    <a:lnTo>
                      <a:pt x="44" y="94"/>
                    </a:lnTo>
                    <a:lnTo>
                      <a:pt x="46" y="99"/>
                    </a:lnTo>
                    <a:lnTo>
                      <a:pt x="46" y="106"/>
                    </a:lnTo>
                    <a:lnTo>
                      <a:pt x="49" y="112"/>
                    </a:lnTo>
                    <a:lnTo>
                      <a:pt x="46" y="114"/>
                    </a:lnTo>
                    <a:lnTo>
                      <a:pt x="43" y="110"/>
                    </a:lnTo>
                    <a:lnTo>
                      <a:pt x="41" y="106"/>
                    </a:lnTo>
                    <a:lnTo>
                      <a:pt x="40" y="104"/>
                    </a:lnTo>
                    <a:lnTo>
                      <a:pt x="41" y="106"/>
                    </a:lnTo>
                    <a:lnTo>
                      <a:pt x="41" y="110"/>
                    </a:lnTo>
                    <a:lnTo>
                      <a:pt x="46" y="114"/>
                    </a:lnTo>
                    <a:lnTo>
                      <a:pt x="49" y="112"/>
                    </a:lnTo>
                    <a:lnTo>
                      <a:pt x="51" y="115"/>
                    </a:lnTo>
                    <a:lnTo>
                      <a:pt x="56" y="115"/>
                    </a:lnTo>
                    <a:lnTo>
                      <a:pt x="64" y="134"/>
                    </a:lnTo>
                    <a:lnTo>
                      <a:pt x="44" y="133"/>
                    </a:lnTo>
                    <a:lnTo>
                      <a:pt x="22" y="125"/>
                    </a:lnTo>
                    <a:lnTo>
                      <a:pt x="14" y="118"/>
                    </a:lnTo>
                    <a:lnTo>
                      <a:pt x="1" y="101"/>
                    </a:lnTo>
                    <a:lnTo>
                      <a:pt x="0" y="98"/>
                    </a:lnTo>
                    <a:lnTo>
                      <a:pt x="11" y="88"/>
                    </a:lnTo>
                    <a:lnTo>
                      <a:pt x="11" y="85"/>
                    </a:lnTo>
                    <a:lnTo>
                      <a:pt x="27" y="85"/>
                    </a:lnTo>
                    <a:close/>
                    <a:moveTo>
                      <a:pt x="88" y="82"/>
                    </a:moveTo>
                    <a:lnTo>
                      <a:pt x="89" y="85"/>
                    </a:lnTo>
                    <a:lnTo>
                      <a:pt x="81" y="86"/>
                    </a:lnTo>
                    <a:lnTo>
                      <a:pt x="76" y="80"/>
                    </a:lnTo>
                    <a:lnTo>
                      <a:pt x="88" y="82"/>
                    </a:lnTo>
                    <a:close/>
                    <a:moveTo>
                      <a:pt x="110" y="82"/>
                    </a:moveTo>
                    <a:lnTo>
                      <a:pt x="110" y="77"/>
                    </a:lnTo>
                    <a:lnTo>
                      <a:pt x="113" y="79"/>
                    </a:lnTo>
                    <a:lnTo>
                      <a:pt x="110" y="82"/>
                    </a:lnTo>
                    <a:close/>
                    <a:moveTo>
                      <a:pt x="65" y="77"/>
                    </a:moveTo>
                    <a:lnTo>
                      <a:pt x="75" y="80"/>
                    </a:lnTo>
                    <a:lnTo>
                      <a:pt x="76" y="85"/>
                    </a:lnTo>
                    <a:lnTo>
                      <a:pt x="70" y="88"/>
                    </a:lnTo>
                    <a:lnTo>
                      <a:pt x="72" y="86"/>
                    </a:lnTo>
                    <a:lnTo>
                      <a:pt x="78" y="88"/>
                    </a:lnTo>
                    <a:lnTo>
                      <a:pt x="76" y="83"/>
                    </a:lnTo>
                    <a:lnTo>
                      <a:pt x="81" y="86"/>
                    </a:lnTo>
                    <a:lnTo>
                      <a:pt x="81" y="91"/>
                    </a:lnTo>
                    <a:lnTo>
                      <a:pt x="78" y="93"/>
                    </a:lnTo>
                    <a:lnTo>
                      <a:pt x="78" y="99"/>
                    </a:lnTo>
                    <a:lnTo>
                      <a:pt x="72" y="99"/>
                    </a:lnTo>
                    <a:lnTo>
                      <a:pt x="70" y="98"/>
                    </a:lnTo>
                    <a:lnTo>
                      <a:pt x="70" y="99"/>
                    </a:lnTo>
                    <a:lnTo>
                      <a:pt x="72" y="98"/>
                    </a:lnTo>
                    <a:lnTo>
                      <a:pt x="72" y="99"/>
                    </a:lnTo>
                    <a:lnTo>
                      <a:pt x="75" y="101"/>
                    </a:lnTo>
                    <a:lnTo>
                      <a:pt x="65" y="117"/>
                    </a:lnTo>
                    <a:lnTo>
                      <a:pt x="60" y="114"/>
                    </a:lnTo>
                    <a:lnTo>
                      <a:pt x="65" y="110"/>
                    </a:lnTo>
                    <a:lnTo>
                      <a:pt x="65" y="107"/>
                    </a:lnTo>
                    <a:lnTo>
                      <a:pt x="67" y="109"/>
                    </a:lnTo>
                    <a:lnTo>
                      <a:pt x="64" y="102"/>
                    </a:lnTo>
                    <a:lnTo>
                      <a:pt x="67" y="99"/>
                    </a:lnTo>
                    <a:lnTo>
                      <a:pt x="70" y="99"/>
                    </a:lnTo>
                    <a:lnTo>
                      <a:pt x="67" y="99"/>
                    </a:lnTo>
                    <a:lnTo>
                      <a:pt x="65" y="102"/>
                    </a:lnTo>
                    <a:lnTo>
                      <a:pt x="64" y="98"/>
                    </a:lnTo>
                    <a:lnTo>
                      <a:pt x="65" y="109"/>
                    </a:lnTo>
                    <a:lnTo>
                      <a:pt x="60" y="112"/>
                    </a:lnTo>
                    <a:lnTo>
                      <a:pt x="62" y="120"/>
                    </a:lnTo>
                    <a:lnTo>
                      <a:pt x="60" y="122"/>
                    </a:lnTo>
                    <a:lnTo>
                      <a:pt x="56" y="114"/>
                    </a:lnTo>
                    <a:lnTo>
                      <a:pt x="57" y="110"/>
                    </a:lnTo>
                    <a:lnTo>
                      <a:pt x="60" y="110"/>
                    </a:lnTo>
                    <a:lnTo>
                      <a:pt x="60" y="102"/>
                    </a:lnTo>
                    <a:lnTo>
                      <a:pt x="56" y="104"/>
                    </a:lnTo>
                    <a:lnTo>
                      <a:pt x="56" y="96"/>
                    </a:lnTo>
                    <a:lnTo>
                      <a:pt x="62" y="88"/>
                    </a:lnTo>
                    <a:lnTo>
                      <a:pt x="70" y="88"/>
                    </a:lnTo>
                    <a:lnTo>
                      <a:pt x="60" y="88"/>
                    </a:lnTo>
                    <a:lnTo>
                      <a:pt x="56" y="101"/>
                    </a:lnTo>
                    <a:lnTo>
                      <a:pt x="51" y="98"/>
                    </a:lnTo>
                    <a:lnTo>
                      <a:pt x="56" y="93"/>
                    </a:lnTo>
                    <a:lnTo>
                      <a:pt x="51" y="98"/>
                    </a:lnTo>
                    <a:lnTo>
                      <a:pt x="54" y="101"/>
                    </a:lnTo>
                    <a:lnTo>
                      <a:pt x="48" y="98"/>
                    </a:lnTo>
                    <a:lnTo>
                      <a:pt x="46" y="94"/>
                    </a:lnTo>
                    <a:lnTo>
                      <a:pt x="56" y="85"/>
                    </a:lnTo>
                    <a:lnTo>
                      <a:pt x="57" y="77"/>
                    </a:lnTo>
                    <a:lnTo>
                      <a:pt x="65" y="77"/>
                    </a:lnTo>
                    <a:close/>
                    <a:moveTo>
                      <a:pt x="73" y="56"/>
                    </a:moveTo>
                    <a:lnTo>
                      <a:pt x="76" y="61"/>
                    </a:lnTo>
                    <a:lnTo>
                      <a:pt x="83" y="59"/>
                    </a:lnTo>
                    <a:lnTo>
                      <a:pt x="84" y="61"/>
                    </a:lnTo>
                    <a:lnTo>
                      <a:pt x="81" y="72"/>
                    </a:lnTo>
                    <a:lnTo>
                      <a:pt x="72" y="69"/>
                    </a:lnTo>
                    <a:lnTo>
                      <a:pt x="73" y="66"/>
                    </a:lnTo>
                    <a:lnTo>
                      <a:pt x="70" y="64"/>
                    </a:lnTo>
                    <a:lnTo>
                      <a:pt x="64" y="69"/>
                    </a:lnTo>
                    <a:lnTo>
                      <a:pt x="64" y="72"/>
                    </a:lnTo>
                    <a:lnTo>
                      <a:pt x="57" y="72"/>
                    </a:lnTo>
                    <a:lnTo>
                      <a:pt x="51" y="85"/>
                    </a:lnTo>
                    <a:lnTo>
                      <a:pt x="46" y="85"/>
                    </a:lnTo>
                    <a:lnTo>
                      <a:pt x="38" y="83"/>
                    </a:lnTo>
                    <a:lnTo>
                      <a:pt x="35" y="75"/>
                    </a:lnTo>
                    <a:lnTo>
                      <a:pt x="40" y="59"/>
                    </a:lnTo>
                    <a:lnTo>
                      <a:pt x="48" y="63"/>
                    </a:lnTo>
                    <a:lnTo>
                      <a:pt x="57" y="61"/>
                    </a:lnTo>
                    <a:lnTo>
                      <a:pt x="70" y="51"/>
                    </a:lnTo>
                    <a:lnTo>
                      <a:pt x="73" y="56"/>
                    </a:lnTo>
                    <a:close/>
                    <a:moveTo>
                      <a:pt x="97" y="2"/>
                    </a:moveTo>
                    <a:lnTo>
                      <a:pt x="91" y="4"/>
                    </a:lnTo>
                    <a:lnTo>
                      <a:pt x="94" y="0"/>
                    </a:lnTo>
                    <a:lnTo>
                      <a:pt x="97" y="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pPr algn="ctr"/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Freeform 220">
                <a:extLst>
                  <a:ext uri="{FF2B5EF4-FFF2-40B4-BE49-F238E27FC236}">
                    <a16:creationId xmlns:a16="http://schemas.microsoft.com/office/drawing/2014/main" id="{9B286B88-DDB5-4726-AEDA-63C2B08242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21275" y="5399088"/>
                <a:ext cx="669925" cy="511175"/>
              </a:xfrm>
              <a:custGeom>
                <a:avLst/>
                <a:gdLst>
                  <a:gd name="T0" fmla="*/ 31 w 422"/>
                  <a:gd name="T1" fmla="*/ 124 h 322"/>
                  <a:gd name="T2" fmla="*/ 31 w 422"/>
                  <a:gd name="T3" fmla="*/ 95 h 322"/>
                  <a:gd name="T4" fmla="*/ 58 w 422"/>
                  <a:gd name="T5" fmla="*/ 75 h 322"/>
                  <a:gd name="T6" fmla="*/ 61 w 422"/>
                  <a:gd name="T7" fmla="*/ 138 h 322"/>
                  <a:gd name="T8" fmla="*/ 42 w 422"/>
                  <a:gd name="T9" fmla="*/ 156 h 322"/>
                  <a:gd name="T10" fmla="*/ 50 w 422"/>
                  <a:gd name="T11" fmla="*/ 164 h 322"/>
                  <a:gd name="T12" fmla="*/ 60 w 422"/>
                  <a:gd name="T13" fmla="*/ 156 h 322"/>
                  <a:gd name="T14" fmla="*/ 61 w 422"/>
                  <a:gd name="T15" fmla="*/ 154 h 322"/>
                  <a:gd name="T16" fmla="*/ 85 w 422"/>
                  <a:gd name="T17" fmla="*/ 154 h 322"/>
                  <a:gd name="T18" fmla="*/ 77 w 422"/>
                  <a:gd name="T19" fmla="*/ 199 h 322"/>
                  <a:gd name="T20" fmla="*/ 139 w 422"/>
                  <a:gd name="T21" fmla="*/ 244 h 322"/>
                  <a:gd name="T22" fmla="*/ 139 w 422"/>
                  <a:gd name="T23" fmla="*/ 229 h 322"/>
                  <a:gd name="T24" fmla="*/ 138 w 422"/>
                  <a:gd name="T25" fmla="*/ 233 h 322"/>
                  <a:gd name="T26" fmla="*/ 163 w 422"/>
                  <a:gd name="T27" fmla="*/ 218 h 322"/>
                  <a:gd name="T28" fmla="*/ 149 w 422"/>
                  <a:gd name="T29" fmla="*/ 255 h 322"/>
                  <a:gd name="T30" fmla="*/ 160 w 422"/>
                  <a:gd name="T31" fmla="*/ 231 h 322"/>
                  <a:gd name="T32" fmla="*/ 119 w 422"/>
                  <a:gd name="T33" fmla="*/ 304 h 322"/>
                  <a:gd name="T34" fmla="*/ 125 w 422"/>
                  <a:gd name="T35" fmla="*/ 285 h 322"/>
                  <a:gd name="T36" fmla="*/ 139 w 422"/>
                  <a:gd name="T37" fmla="*/ 274 h 322"/>
                  <a:gd name="T38" fmla="*/ 120 w 422"/>
                  <a:gd name="T39" fmla="*/ 268 h 322"/>
                  <a:gd name="T40" fmla="*/ 119 w 422"/>
                  <a:gd name="T41" fmla="*/ 263 h 322"/>
                  <a:gd name="T42" fmla="*/ 152 w 422"/>
                  <a:gd name="T43" fmla="*/ 269 h 322"/>
                  <a:gd name="T44" fmla="*/ 182 w 422"/>
                  <a:gd name="T45" fmla="*/ 269 h 322"/>
                  <a:gd name="T46" fmla="*/ 206 w 422"/>
                  <a:gd name="T47" fmla="*/ 277 h 322"/>
                  <a:gd name="T48" fmla="*/ 165 w 422"/>
                  <a:gd name="T49" fmla="*/ 304 h 322"/>
                  <a:gd name="T50" fmla="*/ 241 w 422"/>
                  <a:gd name="T51" fmla="*/ 317 h 322"/>
                  <a:gd name="T52" fmla="*/ 206 w 422"/>
                  <a:gd name="T53" fmla="*/ 287 h 322"/>
                  <a:gd name="T54" fmla="*/ 181 w 422"/>
                  <a:gd name="T55" fmla="*/ 268 h 322"/>
                  <a:gd name="T56" fmla="*/ 158 w 422"/>
                  <a:gd name="T57" fmla="*/ 250 h 322"/>
                  <a:gd name="T58" fmla="*/ 173 w 422"/>
                  <a:gd name="T59" fmla="*/ 237 h 322"/>
                  <a:gd name="T60" fmla="*/ 189 w 422"/>
                  <a:gd name="T61" fmla="*/ 221 h 322"/>
                  <a:gd name="T62" fmla="*/ 158 w 422"/>
                  <a:gd name="T63" fmla="*/ 210 h 322"/>
                  <a:gd name="T64" fmla="*/ 143 w 422"/>
                  <a:gd name="T65" fmla="*/ 223 h 322"/>
                  <a:gd name="T66" fmla="*/ 131 w 422"/>
                  <a:gd name="T67" fmla="*/ 221 h 322"/>
                  <a:gd name="T68" fmla="*/ 111 w 422"/>
                  <a:gd name="T69" fmla="*/ 239 h 322"/>
                  <a:gd name="T70" fmla="*/ 127 w 422"/>
                  <a:gd name="T71" fmla="*/ 209 h 322"/>
                  <a:gd name="T72" fmla="*/ 165 w 422"/>
                  <a:gd name="T73" fmla="*/ 196 h 322"/>
                  <a:gd name="T74" fmla="*/ 149 w 422"/>
                  <a:gd name="T75" fmla="*/ 202 h 322"/>
                  <a:gd name="T76" fmla="*/ 150 w 422"/>
                  <a:gd name="T77" fmla="*/ 188 h 322"/>
                  <a:gd name="T78" fmla="*/ 138 w 422"/>
                  <a:gd name="T79" fmla="*/ 196 h 322"/>
                  <a:gd name="T80" fmla="*/ 111 w 422"/>
                  <a:gd name="T81" fmla="*/ 188 h 322"/>
                  <a:gd name="T82" fmla="*/ 139 w 422"/>
                  <a:gd name="T83" fmla="*/ 175 h 322"/>
                  <a:gd name="T84" fmla="*/ 131 w 422"/>
                  <a:gd name="T85" fmla="*/ 153 h 322"/>
                  <a:gd name="T86" fmla="*/ 125 w 422"/>
                  <a:gd name="T87" fmla="*/ 167 h 322"/>
                  <a:gd name="T88" fmla="*/ 88 w 422"/>
                  <a:gd name="T89" fmla="*/ 159 h 322"/>
                  <a:gd name="T90" fmla="*/ 115 w 422"/>
                  <a:gd name="T91" fmla="*/ 151 h 322"/>
                  <a:gd name="T92" fmla="*/ 98 w 422"/>
                  <a:gd name="T93" fmla="*/ 145 h 322"/>
                  <a:gd name="T94" fmla="*/ 101 w 422"/>
                  <a:gd name="T95" fmla="*/ 118 h 322"/>
                  <a:gd name="T96" fmla="*/ 135 w 422"/>
                  <a:gd name="T97" fmla="*/ 126 h 322"/>
                  <a:gd name="T98" fmla="*/ 158 w 422"/>
                  <a:gd name="T99" fmla="*/ 123 h 322"/>
                  <a:gd name="T100" fmla="*/ 90 w 422"/>
                  <a:gd name="T101" fmla="*/ 118 h 322"/>
                  <a:gd name="T102" fmla="*/ 125 w 422"/>
                  <a:gd name="T103" fmla="*/ 102 h 322"/>
                  <a:gd name="T104" fmla="*/ 197 w 422"/>
                  <a:gd name="T105" fmla="*/ 115 h 322"/>
                  <a:gd name="T106" fmla="*/ 261 w 422"/>
                  <a:gd name="T107" fmla="*/ 158 h 322"/>
                  <a:gd name="T108" fmla="*/ 270 w 422"/>
                  <a:gd name="T109" fmla="*/ 48 h 322"/>
                  <a:gd name="T110" fmla="*/ 328 w 422"/>
                  <a:gd name="T111" fmla="*/ 30 h 322"/>
                  <a:gd name="T112" fmla="*/ 407 w 422"/>
                  <a:gd name="T113" fmla="*/ 28 h 322"/>
                  <a:gd name="T114" fmla="*/ 407 w 422"/>
                  <a:gd name="T115" fmla="*/ 124 h 322"/>
                  <a:gd name="T116" fmla="*/ 379 w 422"/>
                  <a:gd name="T117" fmla="*/ 215 h 322"/>
                  <a:gd name="T118" fmla="*/ 324 w 422"/>
                  <a:gd name="T119" fmla="*/ 269 h 322"/>
                  <a:gd name="T120" fmla="*/ 281 w 422"/>
                  <a:gd name="T121" fmla="*/ 308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22" h="322">
                    <a:moveTo>
                      <a:pt x="24" y="164"/>
                    </a:moveTo>
                    <a:lnTo>
                      <a:pt x="20" y="161"/>
                    </a:lnTo>
                    <a:lnTo>
                      <a:pt x="0" y="131"/>
                    </a:lnTo>
                    <a:lnTo>
                      <a:pt x="12" y="131"/>
                    </a:lnTo>
                    <a:lnTo>
                      <a:pt x="20" y="124"/>
                    </a:lnTo>
                    <a:lnTo>
                      <a:pt x="21" y="124"/>
                    </a:lnTo>
                    <a:lnTo>
                      <a:pt x="24" y="132"/>
                    </a:lnTo>
                    <a:lnTo>
                      <a:pt x="32" y="131"/>
                    </a:lnTo>
                    <a:lnTo>
                      <a:pt x="31" y="124"/>
                    </a:lnTo>
                    <a:lnTo>
                      <a:pt x="34" y="124"/>
                    </a:lnTo>
                    <a:lnTo>
                      <a:pt x="31" y="123"/>
                    </a:lnTo>
                    <a:lnTo>
                      <a:pt x="32" y="121"/>
                    </a:lnTo>
                    <a:lnTo>
                      <a:pt x="32" y="110"/>
                    </a:lnTo>
                    <a:lnTo>
                      <a:pt x="36" y="107"/>
                    </a:lnTo>
                    <a:lnTo>
                      <a:pt x="32" y="105"/>
                    </a:lnTo>
                    <a:lnTo>
                      <a:pt x="32" y="102"/>
                    </a:lnTo>
                    <a:lnTo>
                      <a:pt x="34" y="100"/>
                    </a:lnTo>
                    <a:lnTo>
                      <a:pt x="31" y="95"/>
                    </a:lnTo>
                    <a:lnTo>
                      <a:pt x="36" y="91"/>
                    </a:lnTo>
                    <a:lnTo>
                      <a:pt x="36" y="81"/>
                    </a:lnTo>
                    <a:lnTo>
                      <a:pt x="39" y="81"/>
                    </a:lnTo>
                    <a:lnTo>
                      <a:pt x="40" y="73"/>
                    </a:lnTo>
                    <a:lnTo>
                      <a:pt x="42" y="78"/>
                    </a:lnTo>
                    <a:lnTo>
                      <a:pt x="45" y="76"/>
                    </a:lnTo>
                    <a:lnTo>
                      <a:pt x="47" y="71"/>
                    </a:lnTo>
                    <a:lnTo>
                      <a:pt x="52" y="75"/>
                    </a:lnTo>
                    <a:lnTo>
                      <a:pt x="58" y="75"/>
                    </a:lnTo>
                    <a:lnTo>
                      <a:pt x="58" y="78"/>
                    </a:lnTo>
                    <a:lnTo>
                      <a:pt x="63" y="81"/>
                    </a:lnTo>
                    <a:lnTo>
                      <a:pt x="63" y="95"/>
                    </a:lnTo>
                    <a:lnTo>
                      <a:pt x="71" y="97"/>
                    </a:lnTo>
                    <a:lnTo>
                      <a:pt x="66" y="115"/>
                    </a:lnTo>
                    <a:lnTo>
                      <a:pt x="72" y="132"/>
                    </a:lnTo>
                    <a:lnTo>
                      <a:pt x="63" y="137"/>
                    </a:lnTo>
                    <a:lnTo>
                      <a:pt x="58" y="132"/>
                    </a:lnTo>
                    <a:lnTo>
                      <a:pt x="61" y="138"/>
                    </a:lnTo>
                    <a:lnTo>
                      <a:pt x="31" y="154"/>
                    </a:lnTo>
                    <a:lnTo>
                      <a:pt x="24" y="164"/>
                    </a:lnTo>
                    <a:close/>
                    <a:moveTo>
                      <a:pt x="52" y="205"/>
                    </a:moveTo>
                    <a:lnTo>
                      <a:pt x="39" y="193"/>
                    </a:lnTo>
                    <a:lnTo>
                      <a:pt x="29" y="175"/>
                    </a:lnTo>
                    <a:lnTo>
                      <a:pt x="28" y="170"/>
                    </a:lnTo>
                    <a:lnTo>
                      <a:pt x="31" y="158"/>
                    </a:lnTo>
                    <a:lnTo>
                      <a:pt x="34" y="154"/>
                    </a:lnTo>
                    <a:lnTo>
                      <a:pt x="42" y="156"/>
                    </a:lnTo>
                    <a:lnTo>
                      <a:pt x="45" y="169"/>
                    </a:lnTo>
                    <a:lnTo>
                      <a:pt x="52" y="169"/>
                    </a:lnTo>
                    <a:lnTo>
                      <a:pt x="50" y="175"/>
                    </a:lnTo>
                    <a:lnTo>
                      <a:pt x="64" y="183"/>
                    </a:lnTo>
                    <a:lnTo>
                      <a:pt x="68" y="178"/>
                    </a:lnTo>
                    <a:lnTo>
                      <a:pt x="64" y="182"/>
                    </a:lnTo>
                    <a:lnTo>
                      <a:pt x="58" y="177"/>
                    </a:lnTo>
                    <a:lnTo>
                      <a:pt x="52" y="174"/>
                    </a:lnTo>
                    <a:lnTo>
                      <a:pt x="50" y="164"/>
                    </a:lnTo>
                    <a:lnTo>
                      <a:pt x="55" y="162"/>
                    </a:lnTo>
                    <a:lnTo>
                      <a:pt x="50" y="162"/>
                    </a:lnTo>
                    <a:lnTo>
                      <a:pt x="50" y="169"/>
                    </a:lnTo>
                    <a:lnTo>
                      <a:pt x="47" y="167"/>
                    </a:lnTo>
                    <a:lnTo>
                      <a:pt x="44" y="154"/>
                    </a:lnTo>
                    <a:lnTo>
                      <a:pt x="64" y="140"/>
                    </a:lnTo>
                    <a:lnTo>
                      <a:pt x="68" y="143"/>
                    </a:lnTo>
                    <a:lnTo>
                      <a:pt x="68" y="150"/>
                    </a:lnTo>
                    <a:lnTo>
                      <a:pt x="60" y="156"/>
                    </a:lnTo>
                    <a:lnTo>
                      <a:pt x="63" y="159"/>
                    </a:lnTo>
                    <a:lnTo>
                      <a:pt x="64" y="158"/>
                    </a:lnTo>
                    <a:lnTo>
                      <a:pt x="64" y="161"/>
                    </a:lnTo>
                    <a:lnTo>
                      <a:pt x="69" y="162"/>
                    </a:lnTo>
                    <a:lnTo>
                      <a:pt x="69" y="161"/>
                    </a:lnTo>
                    <a:lnTo>
                      <a:pt x="64" y="161"/>
                    </a:lnTo>
                    <a:lnTo>
                      <a:pt x="68" y="153"/>
                    </a:lnTo>
                    <a:lnTo>
                      <a:pt x="64" y="159"/>
                    </a:lnTo>
                    <a:lnTo>
                      <a:pt x="61" y="154"/>
                    </a:lnTo>
                    <a:lnTo>
                      <a:pt x="68" y="150"/>
                    </a:lnTo>
                    <a:lnTo>
                      <a:pt x="68" y="142"/>
                    </a:lnTo>
                    <a:lnTo>
                      <a:pt x="71" y="135"/>
                    </a:lnTo>
                    <a:lnTo>
                      <a:pt x="77" y="132"/>
                    </a:lnTo>
                    <a:lnTo>
                      <a:pt x="79" y="138"/>
                    </a:lnTo>
                    <a:lnTo>
                      <a:pt x="82" y="138"/>
                    </a:lnTo>
                    <a:lnTo>
                      <a:pt x="82" y="143"/>
                    </a:lnTo>
                    <a:lnTo>
                      <a:pt x="88" y="146"/>
                    </a:lnTo>
                    <a:lnTo>
                      <a:pt x="85" y="154"/>
                    </a:lnTo>
                    <a:lnTo>
                      <a:pt x="91" y="154"/>
                    </a:lnTo>
                    <a:lnTo>
                      <a:pt x="87" y="159"/>
                    </a:lnTo>
                    <a:lnTo>
                      <a:pt x="88" y="170"/>
                    </a:lnTo>
                    <a:lnTo>
                      <a:pt x="80" y="180"/>
                    </a:lnTo>
                    <a:lnTo>
                      <a:pt x="79" y="178"/>
                    </a:lnTo>
                    <a:lnTo>
                      <a:pt x="80" y="182"/>
                    </a:lnTo>
                    <a:lnTo>
                      <a:pt x="83" y="178"/>
                    </a:lnTo>
                    <a:lnTo>
                      <a:pt x="85" y="178"/>
                    </a:lnTo>
                    <a:lnTo>
                      <a:pt x="77" y="199"/>
                    </a:lnTo>
                    <a:lnTo>
                      <a:pt x="66" y="198"/>
                    </a:lnTo>
                    <a:lnTo>
                      <a:pt x="55" y="202"/>
                    </a:lnTo>
                    <a:lnTo>
                      <a:pt x="50" y="199"/>
                    </a:lnTo>
                    <a:lnTo>
                      <a:pt x="55" y="204"/>
                    </a:lnTo>
                    <a:lnTo>
                      <a:pt x="52" y="205"/>
                    </a:lnTo>
                    <a:close/>
                    <a:moveTo>
                      <a:pt x="147" y="255"/>
                    </a:moveTo>
                    <a:lnTo>
                      <a:pt x="136" y="253"/>
                    </a:lnTo>
                    <a:lnTo>
                      <a:pt x="131" y="249"/>
                    </a:lnTo>
                    <a:lnTo>
                      <a:pt x="139" y="244"/>
                    </a:lnTo>
                    <a:lnTo>
                      <a:pt x="144" y="245"/>
                    </a:lnTo>
                    <a:lnTo>
                      <a:pt x="139" y="244"/>
                    </a:lnTo>
                    <a:lnTo>
                      <a:pt x="141" y="241"/>
                    </a:lnTo>
                    <a:lnTo>
                      <a:pt x="135" y="247"/>
                    </a:lnTo>
                    <a:lnTo>
                      <a:pt x="130" y="244"/>
                    </a:lnTo>
                    <a:lnTo>
                      <a:pt x="128" y="239"/>
                    </a:lnTo>
                    <a:lnTo>
                      <a:pt x="130" y="228"/>
                    </a:lnTo>
                    <a:lnTo>
                      <a:pt x="136" y="226"/>
                    </a:lnTo>
                    <a:lnTo>
                      <a:pt x="139" y="229"/>
                    </a:lnTo>
                    <a:lnTo>
                      <a:pt x="138" y="233"/>
                    </a:lnTo>
                    <a:lnTo>
                      <a:pt x="143" y="234"/>
                    </a:lnTo>
                    <a:lnTo>
                      <a:pt x="147" y="229"/>
                    </a:lnTo>
                    <a:lnTo>
                      <a:pt x="150" y="233"/>
                    </a:lnTo>
                    <a:lnTo>
                      <a:pt x="155" y="229"/>
                    </a:lnTo>
                    <a:lnTo>
                      <a:pt x="150" y="233"/>
                    </a:lnTo>
                    <a:lnTo>
                      <a:pt x="149" y="229"/>
                    </a:lnTo>
                    <a:lnTo>
                      <a:pt x="143" y="234"/>
                    </a:lnTo>
                    <a:lnTo>
                      <a:pt x="138" y="233"/>
                    </a:lnTo>
                    <a:lnTo>
                      <a:pt x="138" y="226"/>
                    </a:lnTo>
                    <a:lnTo>
                      <a:pt x="154" y="225"/>
                    </a:lnTo>
                    <a:lnTo>
                      <a:pt x="154" y="226"/>
                    </a:lnTo>
                    <a:lnTo>
                      <a:pt x="155" y="225"/>
                    </a:lnTo>
                    <a:lnTo>
                      <a:pt x="150" y="225"/>
                    </a:lnTo>
                    <a:lnTo>
                      <a:pt x="155" y="218"/>
                    </a:lnTo>
                    <a:lnTo>
                      <a:pt x="160" y="221"/>
                    </a:lnTo>
                    <a:lnTo>
                      <a:pt x="163" y="221"/>
                    </a:lnTo>
                    <a:lnTo>
                      <a:pt x="163" y="218"/>
                    </a:lnTo>
                    <a:lnTo>
                      <a:pt x="174" y="220"/>
                    </a:lnTo>
                    <a:lnTo>
                      <a:pt x="179" y="226"/>
                    </a:lnTo>
                    <a:lnTo>
                      <a:pt x="174" y="236"/>
                    </a:lnTo>
                    <a:lnTo>
                      <a:pt x="165" y="239"/>
                    </a:lnTo>
                    <a:lnTo>
                      <a:pt x="162" y="236"/>
                    </a:lnTo>
                    <a:lnTo>
                      <a:pt x="165" y="239"/>
                    </a:lnTo>
                    <a:lnTo>
                      <a:pt x="163" y="244"/>
                    </a:lnTo>
                    <a:lnTo>
                      <a:pt x="152" y="253"/>
                    </a:lnTo>
                    <a:lnTo>
                      <a:pt x="149" y="255"/>
                    </a:lnTo>
                    <a:lnTo>
                      <a:pt x="146" y="247"/>
                    </a:lnTo>
                    <a:lnTo>
                      <a:pt x="154" y="244"/>
                    </a:lnTo>
                    <a:lnTo>
                      <a:pt x="146" y="245"/>
                    </a:lnTo>
                    <a:lnTo>
                      <a:pt x="149" y="252"/>
                    </a:lnTo>
                    <a:lnTo>
                      <a:pt x="147" y="255"/>
                    </a:lnTo>
                    <a:close/>
                    <a:moveTo>
                      <a:pt x="162" y="236"/>
                    </a:moveTo>
                    <a:lnTo>
                      <a:pt x="160" y="231"/>
                    </a:lnTo>
                    <a:lnTo>
                      <a:pt x="155" y="231"/>
                    </a:lnTo>
                    <a:lnTo>
                      <a:pt x="160" y="231"/>
                    </a:lnTo>
                    <a:lnTo>
                      <a:pt x="162" y="236"/>
                    </a:lnTo>
                    <a:close/>
                    <a:moveTo>
                      <a:pt x="146" y="312"/>
                    </a:moveTo>
                    <a:lnTo>
                      <a:pt x="138" y="306"/>
                    </a:lnTo>
                    <a:lnTo>
                      <a:pt x="130" y="312"/>
                    </a:lnTo>
                    <a:lnTo>
                      <a:pt x="119" y="311"/>
                    </a:lnTo>
                    <a:lnTo>
                      <a:pt x="122" y="301"/>
                    </a:lnTo>
                    <a:lnTo>
                      <a:pt x="127" y="303"/>
                    </a:lnTo>
                    <a:lnTo>
                      <a:pt x="122" y="301"/>
                    </a:lnTo>
                    <a:lnTo>
                      <a:pt x="119" y="304"/>
                    </a:lnTo>
                    <a:lnTo>
                      <a:pt x="115" y="303"/>
                    </a:lnTo>
                    <a:lnTo>
                      <a:pt x="117" y="293"/>
                    </a:lnTo>
                    <a:lnTo>
                      <a:pt x="125" y="293"/>
                    </a:lnTo>
                    <a:lnTo>
                      <a:pt x="128" y="288"/>
                    </a:lnTo>
                    <a:lnTo>
                      <a:pt x="131" y="292"/>
                    </a:lnTo>
                    <a:lnTo>
                      <a:pt x="128" y="287"/>
                    </a:lnTo>
                    <a:lnTo>
                      <a:pt x="125" y="292"/>
                    </a:lnTo>
                    <a:lnTo>
                      <a:pt x="117" y="292"/>
                    </a:lnTo>
                    <a:lnTo>
                      <a:pt x="125" y="285"/>
                    </a:lnTo>
                    <a:lnTo>
                      <a:pt x="123" y="280"/>
                    </a:lnTo>
                    <a:lnTo>
                      <a:pt x="131" y="280"/>
                    </a:lnTo>
                    <a:lnTo>
                      <a:pt x="135" y="276"/>
                    </a:lnTo>
                    <a:lnTo>
                      <a:pt x="136" y="277"/>
                    </a:lnTo>
                    <a:lnTo>
                      <a:pt x="139" y="274"/>
                    </a:lnTo>
                    <a:lnTo>
                      <a:pt x="141" y="279"/>
                    </a:lnTo>
                    <a:lnTo>
                      <a:pt x="144" y="280"/>
                    </a:lnTo>
                    <a:lnTo>
                      <a:pt x="141" y="279"/>
                    </a:lnTo>
                    <a:lnTo>
                      <a:pt x="139" y="274"/>
                    </a:lnTo>
                    <a:lnTo>
                      <a:pt x="136" y="277"/>
                    </a:lnTo>
                    <a:lnTo>
                      <a:pt x="135" y="276"/>
                    </a:lnTo>
                    <a:lnTo>
                      <a:pt x="131" y="280"/>
                    </a:lnTo>
                    <a:lnTo>
                      <a:pt x="125" y="279"/>
                    </a:lnTo>
                    <a:lnTo>
                      <a:pt x="127" y="276"/>
                    </a:lnTo>
                    <a:lnTo>
                      <a:pt x="122" y="271"/>
                    </a:lnTo>
                    <a:lnTo>
                      <a:pt x="119" y="274"/>
                    </a:lnTo>
                    <a:lnTo>
                      <a:pt x="117" y="274"/>
                    </a:lnTo>
                    <a:lnTo>
                      <a:pt x="120" y="268"/>
                    </a:lnTo>
                    <a:lnTo>
                      <a:pt x="123" y="268"/>
                    </a:lnTo>
                    <a:lnTo>
                      <a:pt x="125" y="266"/>
                    </a:lnTo>
                    <a:lnTo>
                      <a:pt x="127" y="269"/>
                    </a:lnTo>
                    <a:lnTo>
                      <a:pt x="131" y="269"/>
                    </a:lnTo>
                    <a:lnTo>
                      <a:pt x="127" y="268"/>
                    </a:lnTo>
                    <a:lnTo>
                      <a:pt x="130" y="265"/>
                    </a:lnTo>
                    <a:lnTo>
                      <a:pt x="123" y="268"/>
                    </a:lnTo>
                    <a:lnTo>
                      <a:pt x="117" y="266"/>
                    </a:lnTo>
                    <a:lnTo>
                      <a:pt x="119" y="263"/>
                    </a:lnTo>
                    <a:lnTo>
                      <a:pt x="136" y="258"/>
                    </a:lnTo>
                    <a:lnTo>
                      <a:pt x="139" y="260"/>
                    </a:lnTo>
                    <a:lnTo>
                      <a:pt x="138" y="263"/>
                    </a:lnTo>
                    <a:lnTo>
                      <a:pt x="139" y="261"/>
                    </a:lnTo>
                    <a:lnTo>
                      <a:pt x="136" y="255"/>
                    </a:lnTo>
                    <a:lnTo>
                      <a:pt x="139" y="253"/>
                    </a:lnTo>
                    <a:lnTo>
                      <a:pt x="150" y="266"/>
                    </a:lnTo>
                    <a:lnTo>
                      <a:pt x="146" y="272"/>
                    </a:lnTo>
                    <a:lnTo>
                      <a:pt x="152" y="269"/>
                    </a:lnTo>
                    <a:lnTo>
                      <a:pt x="155" y="272"/>
                    </a:lnTo>
                    <a:lnTo>
                      <a:pt x="152" y="269"/>
                    </a:lnTo>
                    <a:lnTo>
                      <a:pt x="150" y="271"/>
                    </a:lnTo>
                    <a:lnTo>
                      <a:pt x="150" y="268"/>
                    </a:lnTo>
                    <a:lnTo>
                      <a:pt x="158" y="260"/>
                    </a:lnTo>
                    <a:lnTo>
                      <a:pt x="166" y="265"/>
                    </a:lnTo>
                    <a:lnTo>
                      <a:pt x="176" y="258"/>
                    </a:lnTo>
                    <a:lnTo>
                      <a:pt x="178" y="266"/>
                    </a:lnTo>
                    <a:lnTo>
                      <a:pt x="182" y="269"/>
                    </a:lnTo>
                    <a:lnTo>
                      <a:pt x="187" y="265"/>
                    </a:lnTo>
                    <a:lnTo>
                      <a:pt x="190" y="265"/>
                    </a:lnTo>
                    <a:lnTo>
                      <a:pt x="197" y="261"/>
                    </a:lnTo>
                    <a:lnTo>
                      <a:pt x="198" y="263"/>
                    </a:lnTo>
                    <a:lnTo>
                      <a:pt x="200" y="265"/>
                    </a:lnTo>
                    <a:lnTo>
                      <a:pt x="195" y="272"/>
                    </a:lnTo>
                    <a:lnTo>
                      <a:pt x="197" y="274"/>
                    </a:lnTo>
                    <a:lnTo>
                      <a:pt x="203" y="272"/>
                    </a:lnTo>
                    <a:lnTo>
                      <a:pt x="206" y="277"/>
                    </a:lnTo>
                    <a:lnTo>
                      <a:pt x="205" y="287"/>
                    </a:lnTo>
                    <a:lnTo>
                      <a:pt x="208" y="290"/>
                    </a:lnTo>
                    <a:lnTo>
                      <a:pt x="203" y="295"/>
                    </a:lnTo>
                    <a:lnTo>
                      <a:pt x="195" y="296"/>
                    </a:lnTo>
                    <a:lnTo>
                      <a:pt x="195" y="301"/>
                    </a:lnTo>
                    <a:lnTo>
                      <a:pt x="182" y="304"/>
                    </a:lnTo>
                    <a:lnTo>
                      <a:pt x="176" y="303"/>
                    </a:lnTo>
                    <a:lnTo>
                      <a:pt x="171" y="309"/>
                    </a:lnTo>
                    <a:lnTo>
                      <a:pt x="165" y="304"/>
                    </a:lnTo>
                    <a:lnTo>
                      <a:pt x="162" y="308"/>
                    </a:lnTo>
                    <a:lnTo>
                      <a:pt x="158" y="306"/>
                    </a:lnTo>
                    <a:lnTo>
                      <a:pt x="158" y="308"/>
                    </a:lnTo>
                    <a:lnTo>
                      <a:pt x="157" y="304"/>
                    </a:lnTo>
                    <a:lnTo>
                      <a:pt x="155" y="309"/>
                    </a:lnTo>
                    <a:lnTo>
                      <a:pt x="154" y="308"/>
                    </a:lnTo>
                    <a:lnTo>
                      <a:pt x="146" y="312"/>
                    </a:lnTo>
                    <a:close/>
                    <a:moveTo>
                      <a:pt x="253" y="322"/>
                    </a:moveTo>
                    <a:lnTo>
                      <a:pt x="241" y="317"/>
                    </a:lnTo>
                    <a:lnTo>
                      <a:pt x="233" y="308"/>
                    </a:lnTo>
                    <a:lnTo>
                      <a:pt x="224" y="304"/>
                    </a:lnTo>
                    <a:lnTo>
                      <a:pt x="219" y="298"/>
                    </a:lnTo>
                    <a:lnTo>
                      <a:pt x="206" y="303"/>
                    </a:lnTo>
                    <a:lnTo>
                      <a:pt x="203" y="300"/>
                    </a:lnTo>
                    <a:lnTo>
                      <a:pt x="195" y="298"/>
                    </a:lnTo>
                    <a:lnTo>
                      <a:pt x="203" y="296"/>
                    </a:lnTo>
                    <a:lnTo>
                      <a:pt x="208" y="290"/>
                    </a:lnTo>
                    <a:lnTo>
                      <a:pt x="206" y="287"/>
                    </a:lnTo>
                    <a:lnTo>
                      <a:pt x="208" y="277"/>
                    </a:lnTo>
                    <a:lnTo>
                      <a:pt x="203" y="272"/>
                    </a:lnTo>
                    <a:lnTo>
                      <a:pt x="195" y="271"/>
                    </a:lnTo>
                    <a:lnTo>
                      <a:pt x="202" y="265"/>
                    </a:lnTo>
                    <a:lnTo>
                      <a:pt x="198" y="261"/>
                    </a:lnTo>
                    <a:lnTo>
                      <a:pt x="195" y="260"/>
                    </a:lnTo>
                    <a:lnTo>
                      <a:pt x="190" y="265"/>
                    </a:lnTo>
                    <a:lnTo>
                      <a:pt x="186" y="263"/>
                    </a:lnTo>
                    <a:lnTo>
                      <a:pt x="181" y="268"/>
                    </a:lnTo>
                    <a:lnTo>
                      <a:pt x="178" y="265"/>
                    </a:lnTo>
                    <a:lnTo>
                      <a:pt x="178" y="253"/>
                    </a:lnTo>
                    <a:lnTo>
                      <a:pt x="173" y="261"/>
                    </a:lnTo>
                    <a:lnTo>
                      <a:pt x="166" y="265"/>
                    </a:lnTo>
                    <a:lnTo>
                      <a:pt x="160" y="260"/>
                    </a:lnTo>
                    <a:lnTo>
                      <a:pt x="152" y="266"/>
                    </a:lnTo>
                    <a:lnTo>
                      <a:pt x="144" y="257"/>
                    </a:lnTo>
                    <a:lnTo>
                      <a:pt x="152" y="255"/>
                    </a:lnTo>
                    <a:lnTo>
                      <a:pt x="158" y="250"/>
                    </a:lnTo>
                    <a:lnTo>
                      <a:pt x="158" y="252"/>
                    </a:lnTo>
                    <a:lnTo>
                      <a:pt x="163" y="244"/>
                    </a:lnTo>
                    <a:lnTo>
                      <a:pt x="171" y="247"/>
                    </a:lnTo>
                    <a:lnTo>
                      <a:pt x="173" y="252"/>
                    </a:lnTo>
                    <a:lnTo>
                      <a:pt x="178" y="253"/>
                    </a:lnTo>
                    <a:lnTo>
                      <a:pt x="171" y="245"/>
                    </a:lnTo>
                    <a:lnTo>
                      <a:pt x="163" y="244"/>
                    </a:lnTo>
                    <a:lnTo>
                      <a:pt x="165" y="239"/>
                    </a:lnTo>
                    <a:lnTo>
                      <a:pt x="173" y="237"/>
                    </a:lnTo>
                    <a:lnTo>
                      <a:pt x="176" y="229"/>
                    </a:lnTo>
                    <a:lnTo>
                      <a:pt x="181" y="225"/>
                    </a:lnTo>
                    <a:lnTo>
                      <a:pt x="190" y="231"/>
                    </a:lnTo>
                    <a:lnTo>
                      <a:pt x="192" y="228"/>
                    </a:lnTo>
                    <a:lnTo>
                      <a:pt x="189" y="223"/>
                    </a:lnTo>
                    <a:lnTo>
                      <a:pt x="198" y="225"/>
                    </a:lnTo>
                    <a:lnTo>
                      <a:pt x="195" y="220"/>
                    </a:lnTo>
                    <a:lnTo>
                      <a:pt x="198" y="223"/>
                    </a:lnTo>
                    <a:lnTo>
                      <a:pt x="189" y="221"/>
                    </a:lnTo>
                    <a:lnTo>
                      <a:pt x="192" y="228"/>
                    </a:lnTo>
                    <a:lnTo>
                      <a:pt x="189" y="231"/>
                    </a:lnTo>
                    <a:lnTo>
                      <a:pt x="184" y="225"/>
                    </a:lnTo>
                    <a:lnTo>
                      <a:pt x="178" y="225"/>
                    </a:lnTo>
                    <a:lnTo>
                      <a:pt x="174" y="218"/>
                    </a:lnTo>
                    <a:lnTo>
                      <a:pt x="170" y="220"/>
                    </a:lnTo>
                    <a:lnTo>
                      <a:pt x="165" y="217"/>
                    </a:lnTo>
                    <a:lnTo>
                      <a:pt x="163" y="212"/>
                    </a:lnTo>
                    <a:lnTo>
                      <a:pt x="158" y="210"/>
                    </a:lnTo>
                    <a:lnTo>
                      <a:pt x="158" y="202"/>
                    </a:lnTo>
                    <a:lnTo>
                      <a:pt x="158" y="210"/>
                    </a:lnTo>
                    <a:lnTo>
                      <a:pt x="163" y="212"/>
                    </a:lnTo>
                    <a:lnTo>
                      <a:pt x="162" y="220"/>
                    </a:lnTo>
                    <a:lnTo>
                      <a:pt x="154" y="215"/>
                    </a:lnTo>
                    <a:lnTo>
                      <a:pt x="146" y="223"/>
                    </a:lnTo>
                    <a:lnTo>
                      <a:pt x="144" y="217"/>
                    </a:lnTo>
                    <a:lnTo>
                      <a:pt x="146" y="221"/>
                    </a:lnTo>
                    <a:lnTo>
                      <a:pt x="143" y="223"/>
                    </a:lnTo>
                    <a:lnTo>
                      <a:pt x="138" y="217"/>
                    </a:lnTo>
                    <a:lnTo>
                      <a:pt x="136" y="218"/>
                    </a:lnTo>
                    <a:lnTo>
                      <a:pt x="135" y="215"/>
                    </a:lnTo>
                    <a:lnTo>
                      <a:pt x="136" y="213"/>
                    </a:lnTo>
                    <a:lnTo>
                      <a:pt x="135" y="215"/>
                    </a:lnTo>
                    <a:lnTo>
                      <a:pt x="136" y="218"/>
                    </a:lnTo>
                    <a:lnTo>
                      <a:pt x="138" y="217"/>
                    </a:lnTo>
                    <a:lnTo>
                      <a:pt x="143" y="223"/>
                    </a:lnTo>
                    <a:lnTo>
                      <a:pt x="131" y="221"/>
                    </a:lnTo>
                    <a:lnTo>
                      <a:pt x="133" y="223"/>
                    </a:lnTo>
                    <a:lnTo>
                      <a:pt x="128" y="228"/>
                    </a:lnTo>
                    <a:lnTo>
                      <a:pt x="120" y="250"/>
                    </a:lnTo>
                    <a:lnTo>
                      <a:pt x="109" y="245"/>
                    </a:lnTo>
                    <a:lnTo>
                      <a:pt x="111" y="241"/>
                    </a:lnTo>
                    <a:lnTo>
                      <a:pt x="117" y="241"/>
                    </a:lnTo>
                    <a:lnTo>
                      <a:pt x="119" y="234"/>
                    </a:lnTo>
                    <a:lnTo>
                      <a:pt x="117" y="241"/>
                    </a:lnTo>
                    <a:lnTo>
                      <a:pt x="111" y="239"/>
                    </a:lnTo>
                    <a:lnTo>
                      <a:pt x="111" y="236"/>
                    </a:lnTo>
                    <a:lnTo>
                      <a:pt x="117" y="233"/>
                    </a:lnTo>
                    <a:lnTo>
                      <a:pt x="120" y="221"/>
                    </a:lnTo>
                    <a:lnTo>
                      <a:pt x="125" y="218"/>
                    </a:lnTo>
                    <a:lnTo>
                      <a:pt x="125" y="212"/>
                    </a:lnTo>
                    <a:lnTo>
                      <a:pt x="130" y="209"/>
                    </a:lnTo>
                    <a:lnTo>
                      <a:pt x="130" y="210"/>
                    </a:lnTo>
                    <a:lnTo>
                      <a:pt x="130" y="209"/>
                    </a:lnTo>
                    <a:lnTo>
                      <a:pt x="127" y="209"/>
                    </a:lnTo>
                    <a:lnTo>
                      <a:pt x="128" y="207"/>
                    </a:lnTo>
                    <a:lnTo>
                      <a:pt x="141" y="204"/>
                    </a:lnTo>
                    <a:lnTo>
                      <a:pt x="144" y="209"/>
                    </a:lnTo>
                    <a:lnTo>
                      <a:pt x="146" y="204"/>
                    </a:lnTo>
                    <a:lnTo>
                      <a:pt x="149" y="202"/>
                    </a:lnTo>
                    <a:lnTo>
                      <a:pt x="150" y="205"/>
                    </a:lnTo>
                    <a:lnTo>
                      <a:pt x="152" y="198"/>
                    </a:lnTo>
                    <a:lnTo>
                      <a:pt x="158" y="202"/>
                    </a:lnTo>
                    <a:lnTo>
                      <a:pt x="165" y="196"/>
                    </a:lnTo>
                    <a:lnTo>
                      <a:pt x="163" y="193"/>
                    </a:lnTo>
                    <a:lnTo>
                      <a:pt x="170" y="191"/>
                    </a:lnTo>
                    <a:lnTo>
                      <a:pt x="163" y="193"/>
                    </a:lnTo>
                    <a:lnTo>
                      <a:pt x="160" y="201"/>
                    </a:lnTo>
                    <a:lnTo>
                      <a:pt x="158" y="196"/>
                    </a:lnTo>
                    <a:lnTo>
                      <a:pt x="155" y="201"/>
                    </a:lnTo>
                    <a:lnTo>
                      <a:pt x="152" y="198"/>
                    </a:lnTo>
                    <a:lnTo>
                      <a:pt x="149" y="205"/>
                    </a:lnTo>
                    <a:lnTo>
                      <a:pt x="149" y="202"/>
                    </a:lnTo>
                    <a:lnTo>
                      <a:pt x="146" y="202"/>
                    </a:lnTo>
                    <a:lnTo>
                      <a:pt x="144" y="209"/>
                    </a:lnTo>
                    <a:lnTo>
                      <a:pt x="141" y="204"/>
                    </a:lnTo>
                    <a:lnTo>
                      <a:pt x="136" y="202"/>
                    </a:lnTo>
                    <a:lnTo>
                      <a:pt x="135" y="196"/>
                    </a:lnTo>
                    <a:lnTo>
                      <a:pt x="138" y="198"/>
                    </a:lnTo>
                    <a:lnTo>
                      <a:pt x="144" y="194"/>
                    </a:lnTo>
                    <a:lnTo>
                      <a:pt x="147" y="186"/>
                    </a:lnTo>
                    <a:lnTo>
                      <a:pt x="150" y="188"/>
                    </a:lnTo>
                    <a:lnTo>
                      <a:pt x="157" y="186"/>
                    </a:lnTo>
                    <a:lnTo>
                      <a:pt x="160" y="188"/>
                    </a:lnTo>
                    <a:lnTo>
                      <a:pt x="157" y="186"/>
                    </a:lnTo>
                    <a:lnTo>
                      <a:pt x="150" y="188"/>
                    </a:lnTo>
                    <a:lnTo>
                      <a:pt x="147" y="185"/>
                    </a:lnTo>
                    <a:lnTo>
                      <a:pt x="150" y="177"/>
                    </a:lnTo>
                    <a:lnTo>
                      <a:pt x="147" y="180"/>
                    </a:lnTo>
                    <a:lnTo>
                      <a:pt x="146" y="193"/>
                    </a:lnTo>
                    <a:lnTo>
                      <a:pt x="138" y="196"/>
                    </a:lnTo>
                    <a:lnTo>
                      <a:pt x="135" y="194"/>
                    </a:lnTo>
                    <a:lnTo>
                      <a:pt x="136" y="198"/>
                    </a:lnTo>
                    <a:lnTo>
                      <a:pt x="127" y="199"/>
                    </a:lnTo>
                    <a:lnTo>
                      <a:pt x="122" y="194"/>
                    </a:lnTo>
                    <a:lnTo>
                      <a:pt x="125" y="193"/>
                    </a:lnTo>
                    <a:lnTo>
                      <a:pt x="122" y="194"/>
                    </a:lnTo>
                    <a:lnTo>
                      <a:pt x="123" y="196"/>
                    </a:lnTo>
                    <a:lnTo>
                      <a:pt x="112" y="191"/>
                    </a:lnTo>
                    <a:lnTo>
                      <a:pt x="111" y="188"/>
                    </a:lnTo>
                    <a:lnTo>
                      <a:pt x="117" y="185"/>
                    </a:lnTo>
                    <a:lnTo>
                      <a:pt x="120" y="185"/>
                    </a:lnTo>
                    <a:lnTo>
                      <a:pt x="119" y="188"/>
                    </a:lnTo>
                    <a:lnTo>
                      <a:pt x="128" y="191"/>
                    </a:lnTo>
                    <a:lnTo>
                      <a:pt x="131" y="182"/>
                    </a:lnTo>
                    <a:lnTo>
                      <a:pt x="139" y="185"/>
                    </a:lnTo>
                    <a:lnTo>
                      <a:pt x="136" y="182"/>
                    </a:lnTo>
                    <a:lnTo>
                      <a:pt x="141" y="177"/>
                    </a:lnTo>
                    <a:lnTo>
                      <a:pt x="139" y="175"/>
                    </a:lnTo>
                    <a:lnTo>
                      <a:pt x="136" y="180"/>
                    </a:lnTo>
                    <a:lnTo>
                      <a:pt x="139" y="185"/>
                    </a:lnTo>
                    <a:lnTo>
                      <a:pt x="135" y="185"/>
                    </a:lnTo>
                    <a:lnTo>
                      <a:pt x="127" y="170"/>
                    </a:lnTo>
                    <a:lnTo>
                      <a:pt x="128" y="166"/>
                    </a:lnTo>
                    <a:lnTo>
                      <a:pt x="135" y="167"/>
                    </a:lnTo>
                    <a:lnTo>
                      <a:pt x="135" y="164"/>
                    </a:lnTo>
                    <a:lnTo>
                      <a:pt x="128" y="161"/>
                    </a:lnTo>
                    <a:lnTo>
                      <a:pt x="131" y="153"/>
                    </a:lnTo>
                    <a:lnTo>
                      <a:pt x="133" y="158"/>
                    </a:lnTo>
                    <a:lnTo>
                      <a:pt x="143" y="162"/>
                    </a:lnTo>
                    <a:lnTo>
                      <a:pt x="131" y="158"/>
                    </a:lnTo>
                    <a:lnTo>
                      <a:pt x="133" y="153"/>
                    </a:lnTo>
                    <a:lnTo>
                      <a:pt x="131" y="154"/>
                    </a:lnTo>
                    <a:lnTo>
                      <a:pt x="128" y="161"/>
                    </a:lnTo>
                    <a:lnTo>
                      <a:pt x="135" y="167"/>
                    </a:lnTo>
                    <a:lnTo>
                      <a:pt x="128" y="164"/>
                    </a:lnTo>
                    <a:lnTo>
                      <a:pt x="125" y="167"/>
                    </a:lnTo>
                    <a:lnTo>
                      <a:pt x="130" y="175"/>
                    </a:lnTo>
                    <a:lnTo>
                      <a:pt x="128" y="178"/>
                    </a:lnTo>
                    <a:lnTo>
                      <a:pt x="123" y="178"/>
                    </a:lnTo>
                    <a:lnTo>
                      <a:pt x="115" y="167"/>
                    </a:lnTo>
                    <a:lnTo>
                      <a:pt x="104" y="178"/>
                    </a:lnTo>
                    <a:lnTo>
                      <a:pt x="93" y="182"/>
                    </a:lnTo>
                    <a:lnTo>
                      <a:pt x="85" y="175"/>
                    </a:lnTo>
                    <a:lnTo>
                      <a:pt x="90" y="170"/>
                    </a:lnTo>
                    <a:lnTo>
                      <a:pt x="88" y="159"/>
                    </a:lnTo>
                    <a:lnTo>
                      <a:pt x="95" y="156"/>
                    </a:lnTo>
                    <a:lnTo>
                      <a:pt x="99" y="151"/>
                    </a:lnTo>
                    <a:lnTo>
                      <a:pt x="106" y="153"/>
                    </a:lnTo>
                    <a:lnTo>
                      <a:pt x="107" y="150"/>
                    </a:lnTo>
                    <a:lnTo>
                      <a:pt x="115" y="151"/>
                    </a:lnTo>
                    <a:lnTo>
                      <a:pt x="119" y="156"/>
                    </a:lnTo>
                    <a:lnTo>
                      <a:pt x="125" y="146"/>
                    </a:lnTo>
                    <a:lnTo>
                      <a:pt x="119" y="156"/>
                    </a:lnTo>
                    <a:lnTo>
                      <a:pt x="115" y="151"/>
                    </a:lnTo>
                    <a:lnTo>
                      <a:pt x="107" y="150"/>
                    </a:lnTo>
                    <a:lnTo>
                      <a:pt x="104" y="153"/>
                    </a:lnTo>
                    <a:lnTo>
                      <a:pt x="98" y="151"/>
                    </a:lnTo>
                    <a:lnTo>
                      <a:pt x="95" y="156"/>
                    </a:lnTo>
                    <a:lnTo>
                      <a:pt x="91" y="154"/>
                    </a:lnTo>
                    <a:lnTo>
                      <a:pt x="87" y="154"/>
                    </a:lnTo>
                    <a:lnTo>
                      <a:pt x="85" y="153"/>
                    </a:lnTo>
                    <a:lnTo>
                      <a:pt x="88" y="146"/>
                    </a:lnTo>
                    <a:lnTo>
                      <a:pt x="98" y="145"/>
                    </a:lnTo>
                    <a:lnTo>
                      <a:pt x="90" y="148"/>
                    </a:lnTo>
                    <a:lnTo>
                      <a:pt x="83" y="145"/>
                    </a:lnTo>
                    <a:lnTo>
                      <a:pt x="82" y="143"/>
                    </a:lnTo>
                    <a:lnTo>
                      <a:pt x="82" y="138"/>
                    </a:lnTo>
                    <a:lnTo>
                      <a:pt x="79" y="137"/>
                    </a:lnTo>
                    <a:lnTo>
                      <a:pt x="79" y="132"/>
                    </a:lnTo>
                    <a:lnTo>
                      <a:pt x="91" y="121"/>
                    </a:lnTo>
                    <a:lnTo>
                      <a:pt x="99" y="121"/>
                    </a:lnTo>
                    <a:lnTo>
                      <a:pt x="101" y="118"/>
                    </a:lnTo>
                    <a:lnTo>
                      <a:pt x="107" y="129"/>
                    </a:lnTo>
                    <a:lnTo>
                      <a:pt x="101" y="118"/>
                    </a:lnTo>
                    <a:lnTo>
                      <a:pt x="96" y="119"/>
                    </a:lnTo>
                    <a:lnTo>
                      <a:pt x="96" y="116"/>
                    </a:lnTo>
                    <a:lnTo>
                      <a:pt x="99" y="113"/>
                    </a:lnTo>
                    <a:lnTo>
                      <a:pt x="107" y="116"/>
                    </a:lnTo>
                    <a:lnTo>
                      <a:pt x="117" y="111"/>
                    </a:lnTo>
                    <a:lnTo>
                      <a:pt x="128" y="126"/>
                    </a:lnTo>
                    <a:lnTo>
                      <a:pt x="135" y="126"/>
                    </a:lnTo>
                    <a:lnTo>
                      <a:pt x="144" y="123"/>
                    </a:lnTo>
                    <a:lnTo>
                      <a:pt x="144" y="127"/>
                    </a:lnTo>
                    <a:lnTo>
                      <a:pt x="152" y="131"/>
                    </a:lnTo>
                    <a:lnTo>
                      <a:pt x="157" y="124"/>
                    </a:lnTo>
                    <a:lnTo>
                      <a:pt x="160" y="123"/>
                    </a:lnTo>
                    <a:lnTo>
                      <a:pt x="162" y="129"/>
                    </a:lnTo>
                    <a:lnTo>
                      <a:pt x="171" y="132"/>
                    </a:lnTo>
                    <a:lnTo>
                      <a:pt x="162" y="127"/>
                    </a:lnTo>
                    <a:lnTo>
                      <a:pt x="158" y="123"/>
                    </a:lnTo>
                    <a:lnTo>
                      <a:pt x="154" y="131"/>
                    </a:lnTo>
                    <a:lnTo>
                      <a:pt x="147" y="129"/>
                    </a:lnTo>
                    <a:lnTo>
                      <a:pt x="144" y="126"/>
                    </a:lnTo>
                    <a:lnTo>
                      <a:pt x="146" y="123"/>
                    </a:lnTo>
                    <a:lnTo>
                      <a:pt x="143" y="119"/>
                    </a:lnTo>
                    <a:lnTo>
                      <a:pt x="133" y="126"/>
                    </a:lnTo>
                    <a:lnTo>
                      <a:pt x="117" y="110"/>
                    </a:lnTo>
                    <a:lnTo>
                      <a:pt x="99" y="111"/>
                    </a:lnTo>
                    <a:lnTo>
                      <a:pt x="90" y="118"/>
                    </a:lnTo>
                    <a:lnTo>
                      <a:pt x="83" y="115"/>
                    </a:lnTo>
                    <a:lnTo>
                      <a:pt x="85" y="107"/>
                    </a:lnTo>
                    <a:lnTo>
                      <a:pt x="103" y="107"/>
                    </a:lnTo>
                    <a:lnTo>
                      <a:pt x="109" y="110"/>
                    </a:lnTo>
                    <a:lnTo>
                      <a:pt x="109" y="105"/>
                    </a:lnTo>
                    <a:lnTo>
                      <a:pt x="112" y="102"/>
                    </a:lnTo>
                    <a:lnTo>
                      <a:pt x="115" y="107"/>
                    </a:lnTo>
                    <a:lnTo>
                      <a:pt x="123" y="105"/>
                    </a:lnTo>
                    <a:lnTo>
                      <a:pt x="125" y="102"/>
                    </a:lnTo>
                    <a:lnTo>
                      <a:pt x="135" y="110"/>
                    </a:lnTo>
                    <a:lnTo>
                      <a:pt x="133" y="113"/>
                    </a:lnTo>
                    <a:lnTo>
                      <a:pt x="135" y="116"/>
                    </a:lnTo>
                    <a:lnTo>
                      <a:pt x="143" y="113"/>
                    </a:lnTo>
                    <a:lnTo>
                      <a:pt x="144" y="107"/>
                    </a:lnTo>
                    <a:lnTo>
                      <a:pt x="155" y="102"/>
                    </a:lnTo>
                    <a:lnTo>
                      <a:pt x="170" y="102"/>
                    </a:lnTo>
                    <a:lnTo>
                      <a:pt x="184" y="107"/>
                    </a:lnTo>
                    <a:lnTo>
                      <a:pt x="197" y="115"/>
                    </a:lnTo>
                    <a:lnTo>
                      <a:pt x="210" y="131"/>
                    </a:lnTo>
                    <a:lnTo>
                      <a:pt x="224" y="138"/>
                    </a:lnTo>
                    <a:lnTo>
                      <a:pt x="224" y="164"/>
                    </a:lnTo>
                    <a:lnTo>
                      <a:pt x="232" y="170"/>
                    </a:lnTo>
                    <a:lnTo>
                      <a:pt x="235" y="167"/>
                    </a:lnTo>
                    <a:lnTo>
                      <a:pt x="237" y="169"/>
                    </a:lnTo>
                    <a:lnTo>
                      <a:pt x="245" y="164"/>
                    </a:lnTo>
                    <a:lnTo>
                      <a:pt x="257" y="164"/>
                    </a:lnTo>
                    <a:lnTo>
                      <a:pt x="261" y="158"/>
                    </a:lnTo>
                    <a:lnTo>
                      <a:pt x="267" y="158"/>
                    </a:lnTo>
                    <a:lnTo>
                      <a:pt x="267" y="153"/>
                    </a:lnTo>
                    <a:lnTo>
                      <a:pt x="272" y="148"/>
                    </a:lnTo>
                    <a:lnTo>
                      <a:pt x="291" y="137"/>
                    </a:lnTo>
                    <a:lnTo>
                      <a:pt x="297" y="124"/>
                    </a:lnTo>
                    <a:lnTo>
                      <a:pt x="304" y="119"/>
                    </a:lnTo>
                    <a:lnTo>
                      <a:pt x="300" y="113"/>
                    </a:lnTo>
                    <a:lnTo>
                      <a:pt x="272" y="78"/>
                    </a:lnTo>
                    <a:lnTo>
                      <a:pt x="270" y="48"/>
                    </a:lnTo>
                    <a:lnTo>
                      <a:pt x="277" y="36"/>
                    </a:lnTo>
                    <a:lnTo>
                      <a:pt x="283" y="33"/>
                    </a:lnTo>
                    <a:lnTo>
                      <a:pt x="289" y="33"/>
                    </a:lnTo>
                    <a:lnTo>
                      <a:pt x="293" y="36"/>
                    </a:lnTo>
                    <a:lnTo>
                      <a:pt x="293" y="44"/>
                    </a:lnTo>
                    <a:lnTo>
                      <a:pt x="302" y="48"/>
                    </a:lnTo>
                    <a:lnTo>
                      <a:pt x="315" y="33"/>
                    </a:lnTo>
                    <a:lnTo>
                      <a:pt x="323" y="35"/>
                    </a:lnTo>
                    <a:lnTo>
                      <a:pt x="328" y="30"/>
                    </a:lnTo>
                    <a:lnTo>
                      <a:pt x="344" y="28"/>
                    </a:lnTo>
                    <a:lnTo>
                      <a:pt x="363" y="22"/>
                    </a:lnTo>
                    <a:lnTo>
                      <a:pt x="371" y="17"/>
                    </a:lnTo>
                    <a:lnTo>
                      <a:pt x="372" y="6"/>
                    </a:lnTo>
                    <a:lnTo>
                      <a:pt x="380" y="1"/>
                    </a:lnTo>
                    <a:lnTo>
                      <a:pt x="401" y="0"/>
                    </a:lnTo>
                    <a:lnTo>
                      <a:pt x="404" y="14"/>
                    </a:lnTo>
                    <a:lnTo>
                      <a:pt x="407" y="20"/>
                    </a:lnTo>
                    <a:lnTo>
                      <a:pt x="407" y="28"/>
                    </a:lnTo>
                    <a:lnTo>
                      <a:pt x="414" y="35"/>
                    </a:lnTo>
                    <a:lnTo>
                      <a:pt x="412" y="49"/>
                    </a:lnTo>
                    <a:lnTo>
                      <a:pt x="422" y="67"/>
                    </a:lnTo>
                    <a:lnTo>
                      <a:pt x="420" y="81"/>
                    </a:lnTo>
                    <a:lnTo>
                      <a:pt x="407" y="94"/>
                    </a:lnTo>
                    <a:lnTo>
                      <a:pt x="414" y="99"/>
                    </a:lnTo>
                    <a:lnTo>
                      <a:pt x="415" y="105"/>
                    </a:lnTo>
                    <a:lnTo>
                      <a:pt x="409" y="111"/>
                    </a:lnTo>
                    <a:lnTo>
                      <a:pt x="407" y="124"/>
                    </a:lnTo>
                    <a:lnTo>
                      <a:pt x="399" y="137"/>
                    </a:lnTo>
                    <a:lnTo>
                      <a:pt x="393" y="158"/>
                    </a:lnTo>
                    <a:lnTo>
                      <a:pt x="393" y="172"/>
                    </a:lnTo>
                    <a:lnTo>
                      <a:pt x="385" y="177"/>
                    </a:lnTo>
                    <a:lnTo>
                      <a:pt x="383" y="185"/>
                    </a:lnTo>
                    <a:lnTo>
                      <a:pt x="390" y="196"/>
                    </a:lnTo>
                    <a:lnTo>
                      <a:pt x="383" y="202"/>
                    </a:lnTo>
                    <a:lnTo>
                      <a:pt x="383" y="207"/>
                    </a:lnTo>
                    <a:lnTo>
                      <a:pt x="379" y="215"/>
                    </a:lnTo>
                    <a:lnTo>
                      <a:pt x="371" y="215"/>
                    </a:lnTo>
                    <a:lnTo>
                      <a:pt x="368" y="220"/>
                    </a:lnTo>
                    <a:lnTo>
                      <a:pt x="369" y="244"/>
                    </a:lnTo>
                    <a:lnTo>
                      <a:pt x="355" y="247"/>
                    </a:lnTo>
                    <a:lnTo>
                      <a:pt x="361" y="266"/>
                    </a:lnTo>
                    <a:lnTo>
                      <a:pt x="356" y="269"/>
                    </a:lnTo>
                    <a:lnTo>
                      <a:pt x="344" y="266"/>
                    </a:lnTo>
                    <a:lnTo>
                      <a:pt x="337" y="272"/>
                    </a:lnTo>
                    <a:lnTo>
                      <a:pt x="324" y="269"/>
                    </a:lnTo>
                    <a:lnTo>
                      <a:pt x="321" y="269"/>
                    </a:lnTo>
                    <a:lnTo>
                      <a:pt x="316" y="276"/>
                    </a:lnTo>
                    <a:lnTo>
                      <a:pt x="312" y="277"/>
                    </a:lnTo>
                    <a:lnTo>
                      <a:pt x="310" y="285"/>
                    </a:lnTo>
                    <a:lnTo>
                      <a:pt x="305" y="290"/>
                    </a:lnTo>
                    <a:lnTo>
                      <a:pt x="297" y="287"/>
                    </a:lnTo>
                    <a:lnTo>
                      <a:pt x="289" y="292"/>
                    </a:lnTo>
                    <a:lnTo>
                      <a:pt x="289" y="306"/>
                    </a:lnTo>
                    <a:lnTo>
                      <a:pt x="281" y="308"/>
                    </a:lnTo>
                    <a:lnTo>
                      <a:pt x="275" y="312"/>
                    </a:lnTo>
                    <a:lnTo>
                      <a:pt x="262" y="309"/>
                    </a:lnTo>
                    <a:lnTo>
                      <a:pt x="259" y="312"/>
                    </a:lnTo>
                    <a:lnTo>
                      <a:pt x="257" y="320"/>
                    </a:lnTo>
                    <a:lnTo>
                      <a:pt x="253" y="32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pPr algn="ctr"/>
                <a:endParaRPr lang="en-US" sz="8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33" name="Freeform 221">
              <a:extLst>
                <a:ext uri="{FF2B5EF4-FFF2-40B4-BE49-F238E27FC236}">
                  <a16:creationId xmlns:a16="http://schemas.microsoft.com/office/drawing/2014/main" id="{05969B75-D299-4EC9-A8D4-E9B4C52718F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9638" y="3608388"/>
              <a:ext cx="450850" cy="647700"/>
            </a:xfrm>
            <a:custGeom>
              <a:avLst/>
              <a:gdLst>
                <a:gd name="T0" fmla="*/ 241 w 284"/>
                <a:gd name="T1" fmla="*/ 174 h 408"/>
                <a:gd name="T2" fmla="*/ 243 w 284"/>
                <a:gd name="T3" fmla="*/ 182 h 408"/>
                <a:gd name="T4" fmla="*/ 198 w 284"/>
                <a:gd name="T5" fmla="*/ 214 h 408"/>
                <a:gd name="T6" fmla="*/ 203 w 284"/>
                <a:gd name="T7" fmla="*/ 226 h 408"/>
                <a:gd name="T8" fmla="*/ 208 w 284"/>
                <a:gd name="T9" fmla="*/ 241 h 408"/>
                <a:gd name="T10" fmla="*/ 224 w 284"/>
                <a:gd name="T11" fmla="*/ 245 h 408"/>
                <a:gd name="T12" fmla="*/ 254 w 284"/>
                <a:gd name="T13" fmla="*/ 260 h 408"/>
                <a:gd name="T14" fmla="*/ 284 w 284"/>
                <a:gd name="T15" fmla="*/ 311 h 408"/>
                <a:gd name="T16" fmla="*/ 270 w 284"/>
                <a:gd name="T17" fmla="*/ 348 h 408"/>
                <a:gd name="T18" fmla="*/ 245 w 284"/>
                <a:gd name="T19" fmla="*/ 359 h 408"/>
                <a:gd name="T20" fmla="*/ 217 w 284"/>
                <a:gd name="T21" fmla="*/ 381 h 408"/>
                <a:gd name="T22" fmla="*/ 205 w 284"/>
                <a:gd name="T23" fmla="*/ 394 h 408"/>
                <a:gd name="T24" fmla="*/ 192 w 284"/>
                <a:gd name="T25" fmla="*/ 391 h 408"/>
                <a:gd name="T26" fmla="*/ 163 w 284"/>
                <a:gd name="T27" fmla="*/ 400 h 408"/>
                <a:gd name="T28" fmla="*/ 155 w 284"/>
                <a:gd name="T29" fmla="*/ 402 h 408"/>
                <a:gd name="T30" fmla="*/ 134 w 284"/>
                <a:gd name="T31" fmla="*/ 403 h 408"/>
                <a:gd name="T32" fmla="*/ 110 w 284"/>
                <a:gd name="T33" fmla="*/ 394 h 408"/>
                <a:gd name="T34" fmla="*/ 104 w 284"/>
                <a:gd name="T35" fmla="*/ 348 h 408"/>
                <a:gd name="T36" fmla="*/ 88 w 284"/>
                <a:gd name="T37" fmla="*/ 324 h 408"/>
                <a:gd name="T38" fmla="*/ 51 w 284"/>
                <a:gd name="T39" fmla="*/ 297 h 408"/>
                <a:gd name="T40" fmla="*/ 50 w 284"/>
                <a:gd name="T41" fmla="*/ 281 h 408"/>
                <a:gd name="T42" fmla="*/ 75 w 284"/>
                <a:gd name="T43" fmla="*/ 255 h 408"/>
                <a:gd name="T44" fmla="*/ 72 w 284"/>
                <a:gd name="T45" fmla="*/ 226 h 408"/>
                <a:gd name="T46" fmla="*/ 71 w 284"/>
                <a:gd name="T47" fmla="*/ 199 h 408"/>
                <a:gd name="T48" fmla="*/ 21 w 284"/>
                <a:gd name="T49" fmla="*/ 188 h 408"/>
                <a:gd name="T50" fmla="*/ 4 w 284"/>
                <a:gd name="T51" fmla="*/ 135 h 408"/>
                <a:gd name="T52" fmla="*/ 16 w 284"/>
                <a:gd name="T53" fmla="*/ 91 h 408"/>
                <a:gd name="T54" fmla="*/ 40 w 284"/>
                <a:gd name="T55" fmla="*/ 59 h 408"/>
                <a:gd name="T56" fmla="*/ 67 w 284"/>
                <a:gd name="T57" fmla="*/ 33 h 408"/>
                <a:gd name="T58" fmla="*/ 101 w 284"/>
                <a:gd name="T59" fmla="*/ 24 h 408"/>
                <a:gd name="T60" fmla="*/ 123 w 284"/>
                <a:gd name="T61" fmla="*/ 6 h 408"/>
                <a:gd name="T62" fmla="*/ 149 w 284"/>
                <a:gd name="T63" fmla="*/ 21 h 408"/>
                <a:gd name="T64" fmla="*/ 160 w 284"/>
                <a:gd name="T65" fmla="*/ 35 h 408"/>
                <a:gd name="T66" fmla="*/ 171 w 284"/>
                <a:gd name="T67" fmla="*/ 46 h 408"/>
                <a:gd name="T68" fmla="*/ 176 w 284"/>
                <a:gd name="T69" fmla="*/ 52 h 408"/>
                <a:gd name="T70" fmla="*/ 181 w 284"/>
                <a:gd name="T71" fmla="*/ 57 h 408"/>
                <a:gd name="T72" fmla="*/ 182 w 284"/>
                <a:gd name="T73" fmla="*/ 60 h 408"/>
                <a:gd name="T74" fmla="*/ 185 w 284"/>
                <a:gd name="T75" fmla="*/ 64 h 408"/>
                <a:gd name="T76" fmla="*/ 187 w 284"/>
                <a:gd name="T77" fmla="*/ 84 h 408"/>
                <a:gd name="T78" fmla="*/ 189 w 284"/>
                <a:gd name="T79" fmla="*/ 89 h 408"/>
                <a:gd name="T80" fmla="*/ 192 w 284"/>
                <a:gd name="T81" fmla="*/ 96 h 408"/>
                <a:gd name="T82" fmla="*/ 187 w 284"/>
                <a:gd name="T83" fmla="*/ 148 h 408"/>
                <a:gd name="T84" fmla="*/ 216 w 284"/>
                <a:gd name="T85" fmla="*/ 166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84" h="408">
                  <a:moveTo>
                    <a:pt x="232" y="169"/>
                  </a:moveTo>
                  <a:lnTo>
                    <a:pt x="241" y="174"/>
                  </a:lnTo>
                  <a:lnTo>
                    <a:pt x="245" y="177"/>
                  </a:lnTo>
                  <a:lnTo>
                    <a:pt x="243" y="182"/>
                  </a:lnTo>
                  <a:lnTo>
                    <a:pt x="216" y="194"/>
                  </a:lnTo>
                  <a:lnTo>
                    <a:pt x="198" y="214"/>
                  </a:lnTo>
                  <a:lnTo>
                    <a:pt x="195" y="223"/>
                  </a:lnTo>
                  <a:lnTo>
                    <a:pt x="203" y="226"/>
                  </a:lnTo>
                  <a:lnTo>
                    <a:pt x="211" y="238"/>
                  </a:lnTo>
                  <a:lnTo>
                    <a:pt x="208" y="241"/>
                  </a:lnTo>
                  <a:lnTo>
                    <a:pt x="211" y="244"/>
                  </a:lnTo>
                  <a:lnTo>
                    <a:pt x="224" y="245"/>
                  </a:lnTo>
                  <a:lnTo>
                    <a:pt x="237" y="255"/>
                  </a:lnTo>
                  <a:lnTo>
                    <a:pt x="254" y="260"/>
                  </a:lnTo>
                  <a:lnTo>
                    <a:pt x="268" y="271"/>
                  </a:lnTo>
                  <a:lnTo>
                    <a:pt x="284" y="311"/>
                  </a:lnTo>
                  <a:lnTo>
                    <a:pt x="283" y="335"/>
                  </a:lnTo>
                  <a:lnTo>
                    <a:pt x="270" y="348"/>
                  </a:lnTo>
                  <a:lnTo>
                    <a:pt x="252" y="357"/>
                  </a:lnTo>
                  <a:lnTo>
                    <a:pt x="245" y="359"/>
                  </a:lnTo>
                  <a:lnTo>
                    <a:pt x="227" y="370"/>
                  </a:lnTo>
                  <a:lnTo>
                    <a:pt x="217" y="381"/>
                  </a:lnTo>
                  <a:lnTo>
                    <a:pt x="216" y="389"/>
                  </a:lnTo>
                  <a:lnTo>
                    <a:pt x="205" y="394"/>
                  </a:lnTo>
                  <a:lnTo>
                    <a:pt x="198" y="395"/>
                  </a:lnTo>
                  <a:lnTo>
                    <a:pt x="192" y="391"/>
                  </a:lnTo>
                  <a:lnTo>
                    <a:pt x="184" y="389"/>
                  </a:lnTo>
                  <a:lnTo>
                    <a:pt x="163" y="400"/>
                  </a:lnTo>
                  <a:lnTo>
                    <a:pt x="160" y="397"/>
                  </a:lnTo>
                  <a:lnTo>
                    <a:pt x="155" y="402"/>
                  </a:lnTo>
                  <a:lnTo>
                    <a:pt x="134" y="408"/>
                  </a:lnTo>
                  <a:lnTo>
                    <a:pt x="134" y="403"/>
                  </a:lnTo>
                  <a:lnTo>
                    <a:pt x="112" y="397"/>
                  </a:lnTo>
                  <a:lnTo>
                    <a:pt x="110" y="394"/>
                  </a:lnTo>
                  <a:lnTo>
                    <a:pt x="104" y="379"/>
                  </a:lnTo>
                  <a:lnTo>
                    <a:pt x="104" y="348"/>
                  </a:lnTo>
                  <a:lnTo>
                    <a:pt x="101" y="338"/>
                  </a:lnTo>
                  <a:lnTo>
                    <a:pt x="88" y="324"/>
                  </a:lnTo>
                  <a:lnTo>
                    <a:pt x="67" y="311"/>
                  </a:lnTo>
                  <a:lnTo>
                    <a:pt x="51" y="297"/>
                  </a:lnTo>
                  <a:lnTo>
                    <a:pt x="48" y="287"/>
                  </a:lnTo>
                  <a:lnTo>
                    <a:pt x="50" y="281"/>
                  </a:lnTo>
                  <a:lnTo>
                    <a:pt x="66" y="274"/>
                  </a:lnTo>
                  <a:lnTo>
                    <a:pt x="75" y="255"/>
                  </a:lnTo>
                  <a:lnTo>
                    <a:pt x="77" y="244"/>
                  </a:lnTo>
                  <a:lnTo>
                    <a:pt x="72" y="226"/>
                  </a:lnTo>
                  <a:lnTo>
                    <a:pt x="77" y="210"/>
                  </a:lnTo>
                  <a:lnTo>
                    <a:pt x="71" y="199"/>
                  </a:lnTo>
                  <a:lnTo>
                    <a:pt x="59" y="194"/>
                  </a:lnTo>
                  <a:lnTo>
                    <a:pt x="21" y="188"/>
                  </a:lnTo>
                  <a:lnTo>
                    <a:pt x="0" y="159"/>
                  </a:lnTo>
                  <a:lnTo>
                    <a:pt x="4" y="135"/>
                  </a:lnTo>
                  <a:lnTo>
                    <a:pt x="13" y="118"/>
                  </a:lnTo>
                  <a:lnTo>
                    <a:pt x="16" y="91"/>
                  </a:lnTo>
                  <a:lnTo>
                    <a:pt x="31" y="89"/>
                  </a:lnTo>
                  <a:lnTo>
                    <a:pt x="40" y="59"/>
                  </a:lnTo>
                  <a:lnTo>
                    <a:pt x="53" y="49"/>
                  </a:lnTo>
                  <a:lnTo>
                    <a:pt x="67" y="33"/>
                  </a:lnTo>
                  <a:lnTo>
                    <a:pt x="95" y="30"/>
                  </a:lnTo>
                  <a:lnTo>
                    <a:pt x="101" y="24"/>
                  </a:lnTo>
                  <a:lnTo>
                    <a:pt x="115" y="0"/>
                  </a:lnTo>
                  <a:lnTo>
                    <a:pt x="123" y="6"/>
                  </a:lnTo>
                  <a:lnTo>
                    <a:pt x="141" y="11"/>
                  </a:lnTo>
                  <a:lnTo>
                    <a:pt x="149" y="21"/>
                  </a:lnTo>
                  <a:lnTo>
                    <a:pt x="150" y="33"/>
                  </a:lnTo>
                  <a:lnTo>
                    <a:pt x="160" y="35"/>
                  </a:lnTo>
                  <a:lnTo>
                    <a:pt x="168" y="46"/>
                  </a:lnTo>
                  <a:lnTo>
                    <a:pt x="171" y="46"/>
                  </a:lnTo>
                  <a:lnTo>
                    <a:pt x="171" y="49"/>
                  </a:lnTo>
                  <a:lnTo>
                    <a:pt x="176" y="52"/>
                  </a:lnTo>
                  <a:lnTo>
                    <a:pt x="177" y="56"/>
                  </a:lnTo>
                  <a:lnTo>
                    <a:pt x="181" y="57"/>
                  </a:lnTo>
                  <a:lnTo>
                    <a:pt x="179" y="59"/>
                  </a:lnTo>
                  <a:lnTo>
                    <a:pt x="182" y="60"/>
                  </a:lnTo>
                  <a:lnTo>
                    <a:pt x="182" y="64"/>
                  </a:lnTo>
                  <a:lnTo>
                    <a:pt x="185" y="64"/>
                  </a:lnTo>
                  <a:lnTo>
                    <a:pt x="189" y="70"/>
                  </a:lnTo>
                  <a:lnTo>
                    <a:pt x="187" y="84"/>
                  </a:lnTo>
                  <a:lnTo>
                    <a:pt x="190" y="86"/>
                  </a:lnTo>
                  <a:lnTo>
                    <a:pt x="189" y="89"/>
                  </a:lnTo>
                  <a:lnTo>
                    <a:pt x="192" y="91"/>
                  </a:lnTo>
                  <a:lnTo>
                    <a:pt x="192" y="96"/>
                  </a:lnTo>
                  <a:lnTo>
                    <a:pt x="185" y="129"/>
                  </a:lnTo>
                  <a:lnTo>
                    <a:pt x="187" y="148"/>
                  </a:lnTo>
                  <a:lnTo>
                    <a:pt x="189" y="153"/>
                  </a:lnTo>
                  <a:lnTo>
                    <a:pt x="216" y="166"/>
                  </a:lnTo>
                  <a:lnTo>
                    <a:pt x="232" y="16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/>
            <a:lstStyle/>
            <a:p>
              <a:pPr algn="ctr"/>
              <a:endParaRPr lang="en-US" sz="800" dirty="0"/>
            </a:p>
          </p:txBody>
        </p:sp>
        <p:sp>
          <p:nvSpPr>
            <p:cNvPr id="34" name="Freeform 222">
              <a:extLst>
                <a:ext uri="{FF2B5EF4-FFF2-40B4-BE49-F238E27FC236}">
                  <a16:creationId xmlns:a16="http://schemas.microsoft.com/office/drawing/2014/main" id="{9E46C441-856E-4170-83BA-86DD34B27F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4763" y="4800600"/>
              <a:ext cx="350837" cy="344487"/>
            </a:xfrm>
            <a:custGeom>
              <a:avLst/>
              <a:gdLst>
                <a:gd name="T0" fmla="*/ 221 w 221"/>
                <a:gd name="T1" fmla="*/ 77 h 217"/>
                <a:gd name="T2" fmla="*/ 217 w 221"/>
                <a:gd name="T3" fmla="*/ 94 h 217"/>
                <a:gd name="T4" fmla="*/ 201 w 221"/>
                <a:gd name="T5" fmla="*/ 110 h 217"/>
                <a:gd name="T6" fmla="*/ 188 w 221"/>
                <a:gd name="T7" fmla="*/ 134 h 217"/>
                <a:gd name="T8" fmla="*/ 153 w 221"/>
                <a:gd name="T9" fmla="*/ 179 h 217"/>
                <a:gd name="T10" fmla="*/ 132 w 221"/>
                <a:gd name="T11" fmla="*/ 195 h 217"/>
                <a:gd name="T12" fmla="*/ 121 w 221"/>
                <a:gd name="T13" fmla="*/ 196 h 217"/>
                <a:gd name="T14" fmla="*/ 113 w 221"/>
                <a:gd name="T15" fmla="*/ 193 h 217"/>
                <a:gd name="T16" fmla="*/ 108 w 221"/>
                <a:gd name="T17" fmla="*/ 187 h 217"/>
                <a:gd name="T18" fmla="*/ 105 w 221"/>
                <a:gd name="T19" fmla="*/ 171 h 217"/>
                <a:gd name="T20" fmla="*/ 100 w 221"/>
                <a:gd name="T21" fmla="*/ 161 h 217"/>
                <a:gd name="T22" fmla="*/ 84 w 221"/>
                <a:gd name="T23" fmla="*/ 163 h 217"/>
                <a:gd name="T24" fmla="*/ 51 w 221"/>
                <a:gd name="T25" fmla="*/ 184 h 217"/>
                <a:gd name="T26" fmla="*/ 49 w 221"/>
                <a:gd name="T27" fmla="*/ 190 h 217"/>
                <a:gd name="T28" fmla="*/ 51 w 221"/>
                <a:gd name="T29" fmla="*/ 206 h 217"/>
                <a:gd name="T30" fmla="*/ 47 w 221"/>
                <a:gd name="T31" fmla="*/ 217 h 217"/>
                <a:gd name="T32" fmla="*/ 36 w 221"/>
                <a:gd name="T33" fmla="*/ 217 h 217"/>
                <a:gd name="T34" fmla="*/ 28 w 221"/>
                <a:gd name="T35" fmla="*/ 198 h 217"/>
                <a:gd name="T36" fmla="*/ 25 w 221"/>
                <a:gd name="T37" fmla="*/ 176 h 217"/>
                <a:gd name="T38" fmla="*/ 0 w 221"/>
                <a:gd name="T39" fmla="*/ 174 h 217"/>
                <a:gd name="T40" fmla="*/ 1 w 221"/>
                <a:gd name="T41" fmla="*/ 165 h 217"/>
                <a:gd name="T42" fmla="*/ 12 w 221"/>
                <a:gd name="T43" fmla="*/ 160 h 217"/>
                <a:gd name="T44" fmla="*/ 14 w 221"/>
                <a:gd name="T45" fmla="*/ 161 h 217"/>
                <a:gd name="T46" fmla="*/ 19 w 221"/>
                <a:gd name="T47" fmla="*/ 161 h 217"/>
                <a:gd name="T48" fmla="*/ 28 w 221"/>
                <a:gd name="T49" fmla="*/ 155 h 217"/>
                <a:gd name="T50" fmla="*/ 25 w 221"/>
                <a:gd name="T51" fmla="*/ 131 h 217"/>
                <a:gd name="T52" fmla="*/ 9 w 221"/>
                <a:gd name="T53" fmla="*/ 99 h 217"/>
                <a:gd name="T54" fmla="*/ 8 w 221"/>
                <a:gd name="T55" fmla="*/ 53 h 217"/>
                <a:gd name="T56" fmla="*/ 9 w 221"/>
                <a:gd name="T57" fmla="*/ 45 h 217"/>
                <a:gd name="T58" fmla="*/ 12 w 221"/>
                <a:gd name="T59" fmla="*/ 45 h 217"/>
                <a:gd name="T60" fmla="*/ 19 w 221"/>
                <a:gd name="T61" fmla="*/ 38 h 217"/>
                <a:gd name="T62" fmla="*/ 19 w 221"/>
                <a:gd name="T63" fmla="*/ 23 h 217"/>
                <a:gd name="T64" fmla="*/ 30 w 221"/>
                <a:gd name="T65" fmla="*/ 23 h 217"/>
                <a:gd name="T66" fmla="*/ 39 w 221"/>
                <a:gd name="T67" fmla="*/ 15 h 217"/>
                <a:gd name="T68" fmla="*/ 94 w 221"/>
                <a:gd name="T69" fmla="*/ 16 h 217"/>
                <a:gd name="T70" fmla="*/ 127 w 221"/>
                <a:gd name="T71" fmla="*/ 7 h 217"/>
                <a:gd name="T72" fmla="*/ 143 w 221"/>
                <a:gd name="T73" fmla="*/ 7 h 217"/>
                <a:gd name="T74" fmla="*/ 146 w 221"/>
                <a:gd name="T75" fmla="*/ 8 h 217"/>
                <a:gd name="T76" fmla="*/ 146 w 221"/>
                <a:gd name="T77" fmla="*/ 16 h 217"/>
                <a:gd name="T78" fmla="*/ 151 w 221"/>
                <a:gd name="T79" fmla="*/ 18 h 217"/>
                <a:gd name="T80" fmla="*/ 186 w 221"/>
                <a:gd name="T81" fmla="*/ 0 h 217"/>
                <a:gd name="T82" fmla="*/ 189 w 221"/>
                <a:gd name="T83" fmla="*/ 7 h 217"/>
                <a:gd name="T84" fmla="*/ 186 w 221"/>
                <a:gd name="T85" fmla="*/ 11 h 217"/>
                <a:gd name="T86" fmla="*/ 188 w 221"/>
                <a:gd name="T87" fmla="*/ 11 h 217"/>
                <a:gd name="T88" fmla="*/ 189 w 221"/>
                <a:gd name="T89" fmla="*/ 16 h 217"/>
                <a:gd name="T90" fmla="*/ 185 w 221"/>
                <a:gd name="T91" fmla="*/ 21 h 217"/>
                <a:gd name="T92" fmla="*/ 186 w 221"/>
                <a:gd name="T93" fmla="*/ 31 h 217"/>
                <a:gd name="T94" fmla="*/ 173 w 221"/>
                <a:gd name="T95" fmla="*/ 34 h 217"/>
                <a:gd name="T96" fmla="*/ 172 w 221"/>
                <a:gd name="T97" fmla="*/ 43 h 217"/>
                <a:gd name="T98" fmla="*/ 166 w 221"/>
                <a:gd name="T99" fmla="*/ 56 h 217"/>
                <a:gd name="T100" fmla="*/ 180 w 221"/>
                <a:gd name="T101" fmla="*/ 64 h 217"/>
                <a:gd name="T102" fmla="*/ 215 w 221"/>
                <a:gd name="T103" fmla="*/ 77 h 217"/>
                <a:gd name="T104" fmla="*/ 221 w 221"/>
                <a:gd name="T105" fmla="*/ 7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21" h="217">
                  <a:moveTo>
                    <a:pt x="221" y="77"/>
                  </a:moveTo>
                  <a:lnTo>
                    <a:pt x="217" y="94"/>
                  </a:lnTo>
                  <a:lnTo>
                    <a:pt x="201" y="110"/>
                  </a:lnTo>
                  <a:lnTo>
                    <a:pt x="188" y="134"/>
                  </a:lnTo>
                  <a:lnTo>
                    <a:pt x="153" y="179"/>
                  </a:lnTo>
                  <a:lnTo>
                    <a:pt x="132" y="195"/>
                  </a:lnTo>
                  <a:lnTo>
                    <a:pt x="121" y="196"/>
                  </a:lnTo>
                  <a:lnTo>
                    <a:pt x="113" y="193"/>
                  </a:lnTo>
                  <a:lnTo>
                    <a:pt x="108" y="187"/>
                  </a:lnTo>
                  <a:lnTo>
                    <a:pt x="105" y="171"/>
                  </a:lnTo>
                  <a:lnTo>
                    <a:pt x="100" y="161"/>
                  </a:lnTo>
                  <a:lnTo>
                    <a:pt x="84" y="163"/>
                  </a:lnTo>
                  <a:lnTo>
                    <a:pt x="51" y="184"/>
                  </a:lnTo>
                  <a:lnTo>
                    <a:pt x="49" y="190"/>
                  </a:lnTo>
                  <a:lnTo>
                    <a:pt x="51" y="206"/>
                  </a:lnTo>
                  <a:lnTo>
                    <a:pt x="47" y="217"/>
                  </a:lnTo>
                  <a:lnTo>
                    <a:pt x="36" y="217"/>
                  </a:lnTo>
                  <a:lnTo>
                    <a:pt x="28" y="198"/>
                  </a:lnTo>
                  <a:lnTo>
                    <a:pt x="25" y="176"/>
                  </a:lnTo>
                  <a:lnTo>
                    <a:pt x="0" y="174"/>
                  </a:lnTo>
                  <a:lnTo>
                    <a:pt x="1" y="165"/>
                  </a:lnTo>
                  <a:lnTo>
                    <a:pt x="12" y="160"/>
                  </a:lnTo>
                  <a:lnTo>
                    <a:pt x="14" y="161"/>
                  </a:lnTo>
                  <a:lnTo>
                    <a:pt x="19" y="161"/>
                  </a:lnTo>
                  <a:lnTo>
                    <a:pt x="28" y="155"/>
                  </a:lnTo>
                  <a:lnTo>
                    <a:pt x="25" y="131"/>
                  </a:lnTo>
                  <a:lnTo>
                    <a:pt x="9" y="99"/>
                  </a:lnTo>
                  <a:lnTo>
                    <a:pt x="8" y="53"/>
                  </a:lnTo>
                  <a:lnTo>
                    <a:pt x="9" y="45"/>
                  </a:lnTo>
                  <a:lnTo>
                    <a:pt x="12" y="45"/>
                  </a:lnTo>
                  <a:lnTo>
                    <a:pt x="19" y="38"/>
                  </a:lnTo>
                  <a:lnTo>
                    <a:pt x="19" y="23"/>
                  </a:lnTo>
                  <a:lnTo>
                    <a:pt x="30" y="23"/>
                  </a:lnTo>
                  <a:lnTo>
                    <a:pt x="39" y="15"/>
                  </a:lnTo>
                  <a:lnTo>
                    <a:pt x="94" y="16"/>
                  </a:lnTo>
                  <a:lnTo>
                    <a:pt x="127" y="7"/>
                  </a:lnTo>
                  <a:lnTo>
                    <a:pt x="143" y="7"/>
                  </a:lnTo>
                  <a:lnTo>
                    <a:pt x="146" y="8"/>
                  </a:lnTo>
                  <a:lnTo>
                    <a:pt x="146" y="16"/>
                  </a:lnTo>
                  <a:lnTo>
                    <a:pt x="151" y="18"/>
                  </a:lnTo>
                  <a:lnTo>
                    <a:pt x="186" y="0"/>
                  </a:lnTo>
                  <a:lnTo>
                    <a:pt x="189" y="7"/>
                  </a:lnTo>
                  <a:lnTo>
                    <a:pt x="186" y="11"/>
                  </a:lnTo>
                  <a:lnTo>
                    <a:pt x="188" y="11"/>
                  </a:lnTo>
                  <a:lnTo>
                    <a:pt x="189" y="16"/>
                  </a:lnTo>
                  <a:lnTo>
                    <a:pt x="185" y="21"/>
                  </a:lnTo>
                  <a:lnTo>
                    <a:pt x="186" y="31"/>
                  </a:lnTo>
                  <a:lnTo>
                    <a:pt x="173" y="34"/>
                  </a:lnTo>
                  <a:lnTo>
                    <a:pt x="172" y="43"/>
                  </a:lnTo>
                  <a:lnTo>
                    <a:pt x="166" y="56"/>
                  </a:lnTo>
                  <a:lnTo>
                    <a:pt x="180" y="64"/>
                  </a:lnTo>
                  <a:lnTo>
                    <a:pt x="215" y="77"/>
                  </a:lnTo>
                  <a:lnTo>
                    <a:pt x="221" y="7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5" name="Freeform 223">
              <a:extLst>
                <a:ext uri="{FF2B5EF4-FFF2-40B4-BE49-F238E27FC236}">
                  <a16:creationId xmlns:a16="http://schemas.microsoft.com/office/drawing/2014/main" id="{36660F13-2003-4338-A7F7-039994E58D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9488" y="4800600"/>
              <a:ext cx="357187" cy="412750"/>
            </a:xfrm>
            <a:custGeom>
              <a:avLst/>
              <a:gdLst>
                <a:gd name="T0" fmla="*/ 216 w 225"/>
                <a:gd name="T1" fmla="*/ 23 h 260"/>
                <a:gd name="T2" fmla="*/ 205 w 225"/>
                <a:gd name="T3" fmla="*/ 38 h 260"/>
                <a:gd name="T4" fmla="*/ 195 w 225"/>
                <a:gd name="T5" fmla="*/ 45 h 260"/>
                <a:gd name="T6" fmla="*/ 195 w 225"/>
                <a:gd name="T7" fmla="*/ 99 h 260"/>
                <a:gd name="T8" fmla="*/ 216 w 225"/>
                <a:gd name="T9" fmla="*/ 152 h 260"/>
                <a:gd name="T10" fmla="*/ 205 w 225"/>
                <a:gd name="T11" fmla="*/ 161 h 260"/>
                <a:gd name="T12" fmla="*/ 198 w 225"/>
                <a:gd name="T13" fmla="*/ 160 h 260"/>
                <a:gd name="T14" fmla="*/ 186 w 225"/>
                <a:gd name="T15" fmla="*/ 174 h 260"/>
                <a:gd name="T16" fmla="*/ 174 w 225"/>
                <a:gd name="T17" fmla="*/ 195 h 260"/>
                <a:gd name="T18" fmla="*/ 160 w 225"/>
                <a:gd name="T19" fmla="*/ 201 h 260"/>
                <a:gd name="T20" fmla="*/ 152 w 225"/>
                <a:gd name="T21" fmla="*/ 208 h 260"/>
                <a:gd name="T22" fmla="*/ 147 w 225"/>
                <a:gd name="T23" fmla="*/ 212 h 260"/>
                <a:gd name="T24" fmla="*/ 141 w 225"/>
                <a:gd name="T25" fmla="*/ 214 h 260"/>
                <a:gd name="T26" fmla="*/ 136 w 225"/>
                <a:gd name="T27" fmla="*/ 217 h 260"/>
                <a:gd name="T28" fmla="*/ 138 w 225"/>
                <a:gd name="T29" fmla="*/ 224 h 260"/>
                <a:gd name="T30" fmla="*/ 134 w 225"/>
                <a:gd name="T31" fmla="*/ 227 h 260"/>
                <a:gd name="T32" fmla="*/ 128 w 225"/>
                <a:gd name="T33" fmla="*/ 246 h 260"/>
                <a:gd name="T34" fmla="*/ 115 w 225"/>
                <a:gd name="T35" fmla="*/ 260 h 260"/>
                <a:gd name="T36" fmla="*/ 85 w 225"/>
                <a:gd name="T37" fmla="*/ 251 h 260"/>
                <a:gd name="T38" fmla="*/ 71 w 225"/>
                <a:gd name="T39" fmla="*/ 257 h 260"/>
                <a:gd name="T40" fmla="*/ 71 w 225"/>
                <a:gd name="T41" fmla="*/ 251 h 260"/>
                <a:gd name="T42" fmla="*/ 69 w 225"/>
                <a:gd name="T43" fmla="*/ 241 h 260"/>
                <a:gd name="T44" fmla="*/ 61 w 225"/>
                <a:gd name="T45" fmla="*/ 233 h 260"/>
                <a:gd name="T46" fmla="*/ 23 w 225"/>
                <a:gd name="T47" fmla="*/ 241 h 260"/>
                <a:gd name="T48" fmla="*/ 13 w 225"/>
                <a:gd name="T49" fmla="*/ 222 h 260"/>
                <a:gd name="T50" fmla="*/ 5 w 225"/>
                <a:gd name="T51" fmla="*/ 219 h 260"/>
                <a:gd name="T52" fmla="*/ 5 w 225"/>
                <a:gd name="T53" fmla="*/ 216 h 260"/>
                <a:gd name="T54" fmla="*/ 4 w 225"/>
                <a:gd name="T55" fmla="*/ 201 h 260"/>
                <a:gd name="T56" fmla="*/ 15 w 225"/>
                <a:gd name="T57" fmla="*/ 179 h 260"/>
                <a:gd name="T58" fmla="*/ 15 w 225"/>
                <a:gd name="T59" fmla="*/ 168 h 260"/>
                <a:gd name="T60" fmla="*/ 13 w 225"/>
                <a:gd name="T61" fmla="*/ 150 h 260"/>
                <a:gd name="T62" fmla="*/ 16 w 225"/>
                <a:gd name="T63" fmla="*/ 141 h 260"/>
                <a:gd name="T64" fmla="*/ 20 w 225"/>
                <a:gd name="T65" fmla="*/ 117 h 260"/>
                <a:gd name="T66" fmla="*/ 20 w 225"/>
                <a:gd name="T67" fmla="*/ 109 h 260"/>
                <a:gd name="T68" fmla="*/ 16 w 225"/>
                <a:gd name="T69" fmla="*/ 102 h 260"/>
                <a:gd name="T70" fmla="*/ 10 w 225"/>
                <a:gd name="T71" fmla="*/ 88 h 260"/>
                <a:gd name="T72" fmla="*/ 13 w 225"/>
                <a:gd name="T73" fmla="*/ 59 h 260"/>
                <a:gd name="T74" fmla="*/ 39 w 225"/>
                <a:gd name="T75" fmla="*/ 54 h 260"/>
                <a:gd name="T76" fmla="*/ 58 w 225"/>
                <a:gd name="T77" fmla="*/ 31 h 260"/>
                <a:gd name="T78" fmla="*/ 85 w 225"/>
                <a:gd name="T79" fmla="*/ 18 h 260"/>
                <a:gd name="T80" fmla="*/ 101 w 225"/>
                <a:gd name="T81" fmla="*/ 26 h 260"/>
                <a:gd name="T82" fmla="*/ 109 w 225"/>
                <a:gd name="T83" fmla="*/ 11 h 260"/>
                <a:gd name="T84" fmla="*/ 149 w 225"/>
                <a:gd name="T85" fmla="*/ 8 h 260"/>
                <a:gd name="T86" fmla="*/ 216 w 225"/>
                <a:gd name="T87" fmla="*/ 3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25" h="260">
                  <a:moveTo>
                    <a:pt x="225" y="15"/>
                  </a:moveTo>
                  <a:lnTo>
                    <a:pt x="216" y="23"/>
                  </a:lnTo>
                  <a:lnTo>
                    <a:pt x="205" y="23"/>
                  </a:lnTo>
                  <a:lnTo>
                    <a:pt x="205" y="38"/>
                  </a:lnTo>
                  <a:lnTo>
                    <a:pt x="198" y="45"/>
                  </a:lnTo>
                  <a:lnTo>
                    <a:pt x="195" y="45"/>
                  </a:lnTo>
                  <a:lnTo>
                    <a:pt x="194" y="53"/>
                  </a:lnTo>
                  <a:lnTo>
                    <a:pt x="195" y="99"/>
                  </a:lnTo>
                  <a:lnTo>
                    <a:pt x="211" y="131"/>
                  </a:lnTo>
                  <a:lnTo>
                    <a:pt x="216" y="152"/>
                  </a:lnTo>
                  <a:lnTo>
                    <a:pt x="214" y="155"/>
                  </a:lnTo>
                  <a:lnTo>
                    <a:pt x="205" y="161"/>
                  </a:lnTo>
                  <a:lnTo>
                    <a:pt x="200" y="161"/>
                  </a:lnTo>
                  <a:lnTo>
                    <a:pt x="198" y="160"/>
                  </a:lnTo>
                  <a:lnTo>
                    <a:pt x="187" y="165"/>
                  </a:lnTo>
                  <a:lnTo>
                    <a:pt x="186" y="174"/>
                  </a:lnTo>
                  <a:lnTo>
                    <a:pt x="189" y="188"/>
                  </a:lnTo>
                  <a:lnTo>
                    <a:pt x="174" y="195"/>
                  </a:lnTo>
                  <a:lnTo>
                    <a:pt x="160" y="196"/>
                  </a:lnTo>
                  <a:lnTo>
                    <a:pt x="160" y="201"/>
                  </a:lnTo>
                  <a:lnTo>
                    <a:pt x="157" y="201"/>
                  </a:lnTo>
                  <a:lnTo>
                    <a:pt x="152" y="208"/>
                  </a:lnTo>
                  <a:lnTo>
                    <a:pt x="152" y="211"/>
                  </a:lnTo>
                  <a:lnTo>
                    <a:pt x="147" y="212"/>
                  </a:lnTo>
                  <a:lnTo>
                    <a:pt x="147" y="216"/>
                  </a:lnTo>
                  <a:lnTo>
                    <a:pt x="141" y="214"/>
                  </a:lnTo>
                  <a:lnTo>
                    <a:pt x="141" y="219"/>
                  </a:lnTo>
                  <a:lnTo>
                    <a:pt x="136" y="217"/>
                  </a:lnTo>
                  <a:lnTo>
                    <a:pt x="139" y="222"/>
                  </a:lnTo>
                  <a:lnTo>
                    <a:pt x="138" y="224"/>
                  </a:lnTo>
                  <a:lnTo>
                    <a:pt x="136" y="220"/>
                  </a:lnTo>
                  <a:lnTo>
                    <a:pt x="134" y="227"/>
                  </a:lnTo>
                  <a:lnTo>
                    <a:pt x="128" y="228"/>
                  </a:lnTo>
                  <a:lnTo>
                    <a:pt x="128" y="246"/>
                  </a:lnTo>
                  <a:lnTo>
                    <a:pt x="115" y="252"/>
                  </a:lnTo>
                  <a:lnTo>
                    <a:pt x="115" y="260"/>
                  </a:lnTo>
                  <a:lnTo>
                    <a:pt x="101" y="259"/>
                  </a:lnTo>
                  <a:lnTo>
                    <a:pt x="85" y="251"/>
                  </a:lnTo>
                  <a:lnTo>
                    <a:pt x="72" y="259"/>
                  </a:lnTo>
                  <a:lnTo>
                    <a:pt x="71" y="257"/>
                  </a:lnTo>
                  <a:lnTo>
                    <a:pt x="74" y="255"/>
                  </a:lnTo>
                  <a:lnTo>
                    <a:pt x="71" y="251"/>
                  </a:lnTo>
                  <a:lnTo>
                    <a:pt x="71" y="244"/>
                  </a:lnTo>
                  <a:lnTo>
                    <a:pt x="69" y="241"/>
                  </a:lnTo>
                  <a:lnTo>
                    <a:pt x="69" y="236"/>
                  </a:lnTo>
                  <a:lnTo>
                    <a:pt x="61" y="233"/>
                  </a:lnTo>
                  <a:lnTo>
                    <a:pt x="45" y="235"/>
                  </a:lnTo>
                  <a:lnTo>
                    <a:pt x="23" y="241"/>
                  </a:lnTo>
                  <a:lnTo>
                    <a:pt x="21" y="227"/>
                  </a:lnTo>
                  <a:lnTo>
                    <a:pt x="13" y="222"/>
                  </a:lnTo>
                  <a:lnTo>
                    <a:pt x="5" y="222"/>
                  </a:lnTo>
                  <a:lnTo>
                    <a:pt x="5" y="219"/>
                  </a:lnTo>
                  <a:lnTo>
                    <a:pt x="0" y="219"/>
                  </a:lnTo>
                  <a:lnTo>
                    <a:pt x="5" y="216"/>
                  </a:lnTo>
                  <a:lnTo>
                    <a:pt x="2" y="212"/>
                  </a:lnTo>
                  <a:lnTo>
                    <a:pt x="4" y="201"/>
                  </a:lnTo>
                  <a:lnTo>
                    <a:pt x="15" y="185"/>
                  </a:lnTo>
                  <a:lnTo>
                    <a:pt x="15" y="179"/>
                  </a:lnTo>
                  <a:lnTo>
                    <a:pt x="10" y="174"/>
                  </a:lnTo>
                  <a:lnTo>
                    <a:pt x="15" y="168"/>
                  </a:lnTo>
                  <a:lnTo>
                    <a:pt x="18" y="158"/>
                  </a:lnTo>
                  <a:lnTo>
                    <a:pt x="13" y="150"/>
                  </a:lnTo>
                  <a:lnTo>
                    <a:pt x="18" y="150"/>
                  </a:lnTo>
                  <a:lnTo>
                    <a:pt x="16" y="141"/>
                  </a:lnTo>
                  <a:lnTo>
                    <a:pt x="23" y="131"/>
                  </a:lnTo>
                  <a:lnTo>
                    <a:pt x="20" y="117"/>
                  </a:lnTo>
                  <a:lnTo>
                    <a:pt x="18" y="115"/>
                  </a:lnTo>
                  <a:lnTo>
                    <a:pt x="20" y="109"/>
                  </a:lnTo>
                  <a:lnTo>
                    <a:pt x="15" y="104"/>
                  </a:lnTo>
                  <a:lnTo>
                    <a:pt x="16" y="102"/>
                  </a:lnTo>
                  <a:lnTo>
                    <a:pt x="15" y="91"/>
                  </a:lnTo>
                  <a:lnTo>
                    <a:pt x="10" y="88"/>
                  </a:lnTo>
                  <a:lnTo>
                    <a:pt x="13" y="75"/>
                  </a:lnTo>
                  <a:lnTo>
                    <a:pt x="13" y="59"/>
                  </a:lnTo>
                  <a:lnTo>
                    <a:pt x="21" y="54"/>
                  </a:lnTo>
                  <a:lnTo>
                    <a:pt x="39" y="54"/>
                  </a:lnTo>
                  <a:lnTo>
                    <a:pt x="44" y="43"/>
                  </a:lnTo>
                  <a:lnTo>
                    <a:pt x="58" y="31"/>
                  </a:lnTo>
                  <a:lnTo>
                    <a:pt x="79" y="18"/>
                  </a:lnTo>
                  <a:lnTo>
                    <a:pt x="85" y="18"/>
                  </a:lnTo>
                  <a:lnTo>
                    <a:pt x="88" y="24"/>
                  </a:lnTo>
                  <a:lnTo>
                    <a:pt x="101" y="26"/>
                  </a:lnTo>
                  <a:lnTo>
                    <a:pt x="112" y="21"/>
                  </a:lnTo>
                  <a:lnTo>
                    <a:pt x="109" y="11"/>
                  </a:lnTo>
                  <a:lnTo>
                    <a:pt x="138" y="7"/>
                  </a:lnTo>
                  <a:lnTo>
                    <a:pt x="149" y="8"/>
                  </a:lnTo>
                  <a:lnTo>
                    <a:pt x="206" y="0"/>
                  </a:lnTo>
                  <a:lnTo>
                    <a:pt x="216" y="3"/>
                  </a:lnTo>
                  <a:lnTo>
                    <a:pt x="225" y="1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/>
            <a:lstStyle/>
            <a:p>
              <a:pPr algn="ctr"/>
              <a:endParaRPr lang="en-US" sz="800" dirty="0"/>
            </a:p>
          </p:txBody>
        </p:sp>
        <p:sp>
          <p:nvSpPr>
            <p:cNvPr id="36" name="Freeform 224">
              <a:extLst>
                <a:ext uri="{FF2B5EF4-FFF2-40B4-BE49-F238E27FC236}">
                  <a16:creationId xmlns:a16="http://schemas.microsoft.com/office/drawing/2014/main" id="{2A7D3BA1-00EE-4BBC-89C7-348D04C4BF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2163" y="3579813"/>
              <a:ext cx="1397000" cy="1174750"/>
            </a:xfrm>
            <a:custGeom>
              <a:avLst/>
              <a:gdLst>
                <a:gd name="T0" fmla="*/ 605 w 880"/>
                <a:gd name="T1" fmla="*/ 90 h 740"/>
                <a:gd name="T2" fmla="*/ 596 w 880"/>
                <a:gd name="T3" fmla="*/ 118 h 740"/>
                <a:gd name="T4" fmla="*/ 604 w 880"/>
                <a:gd name="T5" fmla="*/ 150 h 740"/>
                <a:gd name="T6" fmla="*/ 583 w 880"/>
                <a:gd name="T7" fmla="*/ 204 h 740"/>
                <a:gd name="T8" fmla="*/ 620 w 880"/>
                <a:gd name="T9" fmla="*/ 222 h 740"/>
                <a:gd name="T10" fmla="*/ 639 w 880"/>
                <a:gd name="T11" fmla="*/ 212 h 740"/>
                <a:gd name="T12" fmla="*/ 659 w 880"/>
                <a:gd name="T13" fmla="*/ 182 h 740"/>
                <a:gd name="T14" fmla="*/ 707 w 880"/>
                <a:gd name="T15" fmla="*/ 157 h 740"/>
                <a:gd name="T16" fmla="*/ 793 w 880"/>
                <a:gd name="T17" fmla="*/ 173 h 740"/>
                <a:gd name="T18" fmla="*/ 817 w 880"/>
                <a:gd name="T19" fmla="*/ 204 h 740"/>
                <a:gd name="T20" fmla="*/ 819 w 880"/>
                <a:gd name="T21" fmla="*/ 233 h 740"/>
                <a:gd name="T22" fmla="*/ 800 w 880"/>
                <a:gd name="T23" fmla="*/ 254 h 740"/>
                <a:gd name="T24" fmla="*/ 784 w 880"/>
                <a:gd name="T25" fmla="*/ 275 h 740"/>
                <a:gd name="T26" fmla="*/ 795 w 880"/>
                <a:gd name="T27" fmla="*/ 302 h 740"/>
                <a:gd name="T28" fmla="*/ 830 w 880"/>
                <a:gd name="T29" fmla="*/ 307 h 740"/>
                <a:gd name="T30" fmla="*/ 849 w 880"/>
                <a:gd name="T31" fmla="*/ 372 h 740"/>
                <a:gd name="T32" fmla="*/ 875 w 880"/>
                <a:gd name="T33" fmla="*/ 463 h 740"/>
                <a:gd name="T34" fmla="*/ 808 w 880"/>
                <a:gd name="T35" fmla="*/ 488 h 740"/>
                <a:gd name="T36" fmla="*/ 752 w 880"/>
                <a:gd name="T37" fmla="*/ 707 h 740"/>
                <a:gd name="T38" fmla="*/ 741 w 880"/>
                <a:gd name="T39" fmla="*/ 718 h 740"/>
                <a:gd name="T40" fmla="*/ 718 w 880"/>
                <a:gd name="T41" fmla="*/ 718 h 740"/>
                <a:gd name="T42" fmla="*/ 690 w 880"/>
                <a:gd name="T43" fmla="*/ 688 h 740"/>
                <a:gd name="T44" fmla="*/ 632 w 880"/>
                <a:gd name="T45" fmla="*/ 610 h 740"/>
                <a:gd name="T46" fmla="*/ 568 w 880"/>
                <a:gd name="T47" fmla="*/ 608 h 740"/>
                <a:gd name="T48" fmla="*/ 485 w 880"/>
                <a:gd name="T49" fmla="*/ 587 h 740"/>
                <a:gd name="T50" fmla="*/ 428 w 880"/>
                <a:gd name="T51" fmla="*/ 554 h 740"/>
                <a:gd name="T52" fmla="*/ 355 w 880"/>
                <a:gd name="T53" fmla="*/ 512 h 740"/>
                <a:gd name="T54" fmla="*/ 297 w 880"/>
                <a:gd name="T55" fmla="*/ 517 h 740"/>
                <a:gd name="T56" fmla="*/ 197 w 880"/>
                <a:gd name="T57" fmla="*/ 421 h 740"/>
                <a:gd name="T58" fmla="*/ 109 w 880"/>
                <a:gd name="T59" fmla="*/ 346 h 740"/>
                <a:gd name="T60" fmla="*/ 88 w 880"/>
                <a:gd name="T61" fmla="*/ 334 h 740"/>
                <a:gd name="T62" fmla="*/ 91 w 880"/>
                <a:gd name="T63" fmla="*/ 321 h 740"/>
                <a:gd name="T64" fmla="*/ 75 w 880"/>
                <a:gd name="T65" fmla="*/ 308 h 740"/>
                <a:gd name="T66" fmla="*/ 51 w 880"/>
                <a:gd name="T67" fmla="*/ 297 h 740"/>
                <a:gd name="T68" fmla="*/ 26 w 880"/>
                <a:gd name="T69" fmla="*/ 297 h 740"/>
                <a:gd name="T70" fmla="*/ 16 w 880"/>
                <a:gd name="T71" fmla="*/ 287 h 740"/>
                <a:gd name="T72" fmla="*/ 10 w 880"/>
                <a:gd name="T73" fmla="*/ 212 h 740"/>
                <a:gd name="T74" fmla="*/ 53 w 880"/>
                <a:gd name="T75" fmla="*/ 137 h 740"/>
                <a:gd name="T76" fmla="*/ 42 w 880"/>
                <a:gd name="T77" fmla="*/ 40 h 740"/>
                <a:gd name="T78" fmla="*/ 93 w 880"/>
                <a:gd name="T79" fmla="*/ 72 h 740"/>
                <a:gd name="T80" fmla="*/ 241 w 880"/>
                <a:gd name="T81" fmla="*/ 96 h 740"/>
                <a:gd name="T82" fmla="*/ 246 w 880"/>
                <a:gd name="T83" fmla="*/ 174 h 740"/>
                <a:gd name="T84" fmla="*/ 235 w 880"/>
                <a:gd name="T85" fmla="*/ 252 h 740"/>
                <a:gd name="T86" fmla="*/ 259 w 880"/>
                <a:gd name="T87" fmla="*/ 267 h 740"/>
                <a:gd name="T88" fmla="*/ 323 w 880"/>
                <a:gd name="T89" fmla="*/ 212 h 740"/>
                <a:gd name="T90" fmla="*/ 294 w 880"/>
                <a:gd name="T91" fmla="*/ 179 h 740"/>
                <a:gd name="T92" fmla="*/ 304 w 880"/>
                <a:gd name="T93" fmla="*/ 144 h 740"/>
                <a:gd name="T94" fmla="*/ 342 w 880"/>
                <a:gd name="T95" fmla="*/ 133 h 740"/>
                <a:gd name="T96" fmla="*/ 351 w 880"/>
                <a:gd name="T97" fmla="*/ 114 h 740"/>
                <a:gd name="T98" fmla="*/ 331 w 880"/>
                <a:gd name="T99" fmla="*/ 54 h 740"/>
                <a:gd name="T100" fmla="*/ 278 w 880"/>
                <a:gd name="T101" fmla="*/ 24 h 740"/>
                <a:gd name="T102" fmla="*/ 402 w 880"/>
                <a:gd name="T103" fmla="*/ 3 h 740"/>
                <a:gd name="T104" fmla="*/ 543 w 880"/>
                <a:gd name="T105" fmla="*/ 64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80" h="740">
                  <a:moveTo>
                    <a:pt x="576" y="47"/>
                  </a:moveTo>
                  <a:lnTo>
                    <a:pt x="588" y="51"/>
                  </a:lnTo>
                  <a:lnTo>
                    <a:pt x="597" y="66"/>
                  </a:lnTo>
                  <a:lnTo>
                    <a:pt x="599" y="77"/>
                  </a:lnTo>
                  <a:lnTo>
                    <a:pt x="607" y="83"/>
                  </a:lnTo>
                  <a:lnTo>
                    <a:pt x="605" y="90"/>
                  </a:lnTo>
                  <a:lnTo>
                    <a:pt x="608" y="91"/>
                  </a:lnTo>
                  <a:lnTo>
                    <a:pt x="610" y="99"/>
                  </a:lnTo>
                  <a:lnTo>
                    <a:pt x="608" y="107"/>
                  </a:lnTo>
                  <a:lnTo>
                    <a:pt x="599" y="110"/>
                  </a:lnTo>
                  <a:lnTo>
                    <a:pt x="602" y="115"/>
                  </a:lnTo>
                  <a:lnTo>
                    <a:pt x="596" y="118"/>
                  </a:lnTo>
                  <a:lnTo>
                    <a:pt x="594" y="128"/>
                  </a:lnTo>
                  <a:lnTo>
                    <a:pt x="597" y="134"/>
                  </a:lnTo>
                  <a:lnTo>
                    <a:pt x="592" y="144"/>
                  </a:lnTo>
                  <a:lnTo>
                    <a:pt x="596" y="145"/>
                  </a:lnTo>
                  <a:lnTo>
                    <a:pt x="597" y="149"/>
                  </a:lnTo>
                  <a:lnTo>
                    <a:pt x="604" y="150"/>
                  </a:lnTo>
                  <a:lnTo>
                    <a:pt x="597" y="168"/>
                  </a:lnTo>
                  <a:lnTo>
                    <a:pt x="602" y="173"/>
                  </a:lnTo>
                  <a:lnTo>
                    <a:pt x="599" y="181"/>
                  </a:lnTo>
                  <a:lnTo>
                    <a:pt x="592" y="182"/>
                  </a:lnTo>
                  <a:lnTo>
                    <a:pt x="591" y="200"/>
                  </a:lnTo>
                  <a:lnTo>
                    <a:pt x="583" y="204"/>
                  </a:lnTo>
                  <a:lnTo>
                    <a:pt x="581" y="214"/>
                  </a:lnTo>
                  <a:lnTo>
                    <a:pt x="592" y="217"/>
                  </a:lnTo>
                  <a:lnTo>
                    <a:pt x="599" y="224"/>
                  </a:lnTo>
                  <a:lnTo>
                    <a:pt x="610" y="227"/>
                  </a:lnTo>
                  <a:lnTo>
                    <a:pt x="613" y="222"/>
                  </a:lnTo>
                  <a:lnTo>
                    <a:pt x="620" y="222"/>
                  </a:lnTo>
                  <a:lnTo>
                    <a:pt x="621" y="219"/>
                  </a:lnTo>
                  <a:lnTo>
                    <a:pt x="629" y="220"/>
                  </a:lnTo>
                  <a:lnTo>
                    <a:pt x="632" y="216"/>
                  </a:lnTo>
                  <a:lnTo>
                    <a:pt x="639" y="219"/>
                  </a:lnTo>
                  <a:lnTo>
                    <a:pt x="637" y="211"/>
                  </a:lnTo>
                  <a:lnTo>
                    <a:pt x="639" y="212"/>
                  </a:lnTo>
                  <a:lnTo>
                    <a:pt x="645" y="208"/>
                  </a:lnTo>
                  <a:lnTo>
                    <a:pt x="648" y="200"/>
                  </a:lnTo>
                  <a:lnTo>
                    <a:pt x="661" y="193"/>
                  </a:lnTo>
                  <a:lnTo>
                    <a:pt x="659" y="188"/>
                  </a:lnTo>
                  <a:lnTo>
                    <a:pt x="663" y="185"/>
                  </a:lnTo>
                  <a:lnTo>
                    <a:pt x="659" y="182"/>
                  </a:lnTo>
                  <a:lnTo>
                    <a:pt x="663" y="176"/>
                  </a:lnTo>
                  <a:lnTo>
                    <a:pt x="679" y="169"/>
                  </a:lnTo>
                  <a:lnTo>
                    <a:pt x="683" y="163"/>
                  </a:lnTo>
                  <a:lnTo>
                    <a:pt x="685" y="165"/>
                  </a:lnTo>
                  <a:lnTo>
                    <a:pt x="685" y="160"/>
                  </a:lnTo>
                  <a:lnTo>
                    <a:pt x="707" y="157"/>
                  </a:lnTo>
                  <a:lnTo>
                    <a:pt x="741" y="158"/>
                  </a:lnTo>
                  <a:lnTo>
                    <a:pt x="755" y="150"/>
                  </a:lnTo>
                  <a:lnTo>
                    <a:pt x="762" y="150"/>
                  </a:lnTo>
                  <a:lnTo>
                    <a:pt x="771" y="161"/>
                  </a:lnTo>
                  <a:lnTo>
                    <a:pt x="770" y="176"/>
                  </a:lnTo>
                  <a:lnTo>
                    <a:pt x="793" y="173"/>
                  </a:lnTo>
                  <a:lnTo>
                    <a:pt x="797" y="177"/>
                  </a:lnTo>
                  <a:lnTo>
                    <a:pt x="803" y="177"/>
                  </a:lnTo>
                  <a:lnTo>
                    <a:pt x="811" y="184"/>
                  </a:lnTo>
                  <a:lnTo>
                    <a:pt x="813" y="192"/>
                  </a:lnTo>
                  <a:lnTo>
                    <a:pt x="819" y="193"/>
                  </a:lnTo>
                  <a:lnTo>
                    <a:pt x="817" y="204"/>
                  </a:lnTo>
                  <a:lnTo>
                    <a:pt x="822" y="209"/>
                  </a:lnTo>
                  <a:lnTo>
                    <a:pt x="822" y="212"/>
                  </a:lnTo>
                  <a:lnTo>
                    <a:pt x="825" y="214"/>
                  </a:lnTo>
                  <a:lnTo>
                    <a:pt x="827" y="227"/>
                  </a:lnTo>
                  <a:lnTo>
                    <a:pt x="833" y="232"/>
                  </a:lnTo>
                  <a:lnTo>
                    <a:pt x="819" y="233"/>
                  </a:lnTo>
                  <a:lnTo>
                    <a:pt x="816" y="243"/>
                  </a:lnTo>
                  <a:lnTo>
                    <a:pt x="809" y="246"/>
                  </a:lnTo>
                  <a:lnTo>
                    <a:pt x="806" y="256"/>
                  </a:lnTo>
                  <a:lnTo>
                    <a:pt x="805" y="252"/>
                  </a:lnTo>
                  <a:lnTo>
                    <a:pt x="801" y="256"/>
                  </a:lnTo>
                  <a:lnTo>
                    <a:pt x="800" y="254"/>
                  </a:lnTo>
                  <a:lnTo>
                    <a:pt x="797" y="256"/>
                  </a:lnTo>
                  <a:lnTo>
                    <a:pt x="792" y="268"/>
                  </a:lnTo>
                  <a:lnTo>
                    <a:pt x="784" y="268"/>
                  </a:lnTo>
                  <a:lnTo>
                    <a:pt x="784" y="270"/>
                  </a:lnTo>
                  <a:lnTo>
                    <a:pt x="782" y="270"/>
                  </a:lnTo>
                  <a:lnTo>
                    <a:pt x="784" y="275"/>
                  </a:lnTo>
                  <a:lnTo>
                    <a:pt x="778" y="275"/>
                  </a:lnTo>
                  <a:lnTo>
                    <a:pt x="776" y="281"/>
                  </a:lnTo>
                  <a:lnTo>
                    <a:pt x="779" y="295"/>
                  </a:lnTo>
                  <a:lnTo>
                    <a:pt x="787" y="295"/>
                  </a:lnTo>
                  <a:lnTo>
                    <a:pt x="793" y="299"/>
                  </a:lnTo>
                  <a:lnTo>
                    <a:pt x="795" y="302"/>
                  </a:lnTo>
                  <a:lnTo>
                    <a:pt x="800" y="300"/>
                  </a:lnTo>
                  <a:lnTo>
                    <a:pt x="806" y="300"/>
                  </a:lnTo>
                  <a:lnTo>
                    <a:pt x="809" y="305"/>
                  </a:lnTo>
                  <a:lnTo>
                    <a:pt x="813" y="302"/>
                  </a:lnTo>
                  <a:lnTo>
                    <a:pt x="819" y="300"/>
                  </a:lnTo>
                  <a:lnTo>
                    <a:pt x="830" y="307"/>
                  </a:lnTo>
                  <a:lnTo>
                    <a:pt x="835" y="303"/>
                  </a:lnTo>
                  <a:lnTo>
                    <a:pt x="848" y="303"/>
                  </a:lnTo>
                  <a:lnTo>
                    <a:pt x="845" y="310"/>
                  </a:lnTo>
                  <a:lnTo>
                    <a:pt x="843" y="324"/>
                  </a:lnTo>
                  <a:lnTo>
                    <a:pt x="849" y="348"/>
                  </a:lnTo>
                  <a:lnTo>
                    <a:pt x="849" y="372"/>
                  </a:lnTo>
                  <a:lnTo>
                    <a:pt x="880" y="415"/>
                  </a:lnTo>
                  <a:lnTo>
                    <a:pt x="878" y="426"/>
                  </a:lnTo>
                  <a:lnTo>
                    <a:pt x="857" y="441"/>
                  </a:lnTo>
                  <a:lnTo>
                    <a:pt x="860" y="452"/>
                  </a:lnTo>
                  <a:lnTo>
                    <a:pt x="873" y="455"/>
                  </a:lnTo>
                  <a:lnTo>
                    <a:pt x="875" y="463"/>
                  </a:lnTo>
                  <a:lnTo>
                    <a:pt x="857" y="479"/>
                  </a:lnTo>
                  <a:lnTo>
                    <a:pt x="862" y="487"/>
                  </a:lnTo>
                  <a:lnTo>
                    <a:pt x="870" y="482"/>
                  </a:lnTo>
                  <a:lnTo>
                    <a:pt x="872" y="493"/>
                  </a:lnTo>
                  <a:lnTo>
                    <a:pt x="853" y="522"/>
                  </a:lnTo>
                  <a:lnTo>
                    <a:pt x="808" y="488"/>
                  </a:lnTo>
                  <a:lnTo>
                    <a:pt x="762" y="490"/>
                  </a:lnTo>
                  <a:lnTo>
                    <a:pt x="765" y="688"/>
                  </a:lnTo>
                  <a:lnTo>
                    <a:pt x="763" y="689"/>
                  </a:lnTo>
                  <a:lnTo>
                    <a:pt x="766" y="691"/>
                  </a:lnTo>
                  <a:lnTo>
                    <a:pt x="757" y="707"/>
                  </a:lnTo>
                  <a:lnTo>
                    <a:pt x="752" y="707"/>
                  </a:lnTo>
                  <a:lnTo>
                    <a:pt x="750" y="712"/>
                  </a:lnTo>
                  <a:lnTo>
                    <a:pt x="746" y="713"/>
                  </a:lnTo>
                  <a:lnTo>
                    <a:pt x="749" y="715"/>
                  </a:lnTo>
                  <a:lnTo>
                    <a:pt x="749" y="721"/>
                  </a:lnTo>
                  <a:lnTo>
                    <a:pt x="746" y="723"/>
                  </a:lnTo>
                  <a:lnTo>
                    <a:pt x="741" y="718"/>
                  </a:lnTo>
                  <a:lnTo>
                    <a:pt x="739" y="720"/>
                  </a:lnTo>
                  <a:lnTo>
                    <a:pt x="741" y="726"/>
                  </a:lnTo>
                  <a:lnTo>
                    <a:pt x="738" y="728"/>
                  </a:lnTo>
                  <a:lnTo>
                    <a:pt x="734" y="740"/>
                  </a:lnTo>
                  <a:lnTo>
                    <a:pt x="722" y="728"/>
                  </a:lnTo>
                  <a:lnTo>
                    <a:pt x="718" y="718"/>
                  </a:lnTo>
                  <a:lnTo>
                    <a:pt x="712" y="713"/>
                  </a:lnTo>
                  <a:lnTo>
                    <a:pt x="712" y="709"/>
                  </a:lnTo>
                  <a:lnTo>
                    <a:pt x="706" y="707"/>
                  </a:lnTo>
                  <a:lnTo>
                    <a:pt x="701" y="699"/>
                  </a:lnTo>
                  <a:lnTo>
                    <a:pt x="695" y="696"/>
                  </a:lnTo>
                  <a:lnTo>
                    <a:pt x="690" y="688"/>
                  </a:lnTo>
                  <a:lnTo>
                    <a:pt x="677" y="680"/>
                  </a:lnTo>
                  <a:lnTo>
                    <a:pt x="664" y="637"/>
                  </a:lnTo>
                  <a:lnTo>
                    <a:pt x="656" y="626"/>
                  </a:lnTo>
                  <a:lnTo>
                    <a:pt x="647" y="619"/>
                  </a:lnTo>
                  <a:lnTo>
                    <a:pt x="645" y="613"/>
                  </a:lnTo>
                  <a:lnTo>
                    <a:pt x="632" y="610"/>
                  </a:lnTo>
                  <a:lnTo>
                    <a:pt x="615" y="611"/>
                  </a:lnTo>
                  <a:lnTo>
                    <a:pt x="608" y="614"/>
                  </a:lnTo>
                  <a:lnTo>
                    <a:pt x="600" y="606"/>
                  </a:lnTo>
                  <a:lnTo>
                    <a:pt x="592" y="605"/>
                  </a:lnTo>
                  <a:lnTo>
                    <a:pt x="573" y="605"/>
                  </a:lnTo>
                  <a:lnTo>
                    <a:pt x="568" y="608"/>
                  </a:lnTo>
                  <a:lnTo>
                    <a:pt x="562" y="606"/>
                  </a:lnTo>
                  <a:lnTo>
                    <a:pt x="554" y="608"/>
                  </a:lnTo>
                  <a:lnTo>
                    <a:pt x="522" y="610"/>
                  </a:lnTo>
                  <a:lnTo>
                    <a:pt x="505" y="589"/>
                  </a:lnTo>
                  <a:lnTo>
                    <a:pt x="493" y="589"/>
                  </a:lnTo>
                  <a:lnTo>
                    <a:pt x="485" y="587"/>
                  </a:lnTo>
                  <a:lnTo>
                    <a:pt x="476" y="576"/>
                  </a:lnTo>
                  <a:lnTo>
                    <a:pt x="468" y="575"/>
                  </a:lnTo>
                  <a:lnTo>
                    <a:pt x="460" y="563"/>
                  </a:lnTo>
                  <a:lnTo>
                    <a:pt x="447" y="560"/>
                  </a:lnTo>
                  <a:lnTo>
                    <a:pt x="439" y="552"/>
                  </a:lnTo>
                  <a:lnTo>
                    <a:pt x="428" y="554"/>
                  </a:lnTo>
                  <a:lnTo>
                    <a:pt x="422" y="549"/>
                  </a:lnTo>
                  <a:lnTo>
                    <a:pt x="410" y="549"/>
                  </a:lnTo>
                  <a:lnTo>
                    <a:pt x="391" y="543"/>
                  </a:lnTo>
                  <a:lnTo>
                    <a:pt x="383" y="538"/>
                  </a:lnTo>
                  <a:lnTo>
                    <a:pt x="372" y="520"/>
                  </a:lnTo>
                  <a:lnTo>
                    <a:pt x="355" y="512"/>
                  </a:lnTo>
                  <a:lnTo>
                    <a:pt x="345" y="501"/>
                  </a:lnTo>
                  <a:lnTo>
                    <a:pt x="339" y="498"/>
                  </a:lnTo>
                  <a:lnTo>
                    <a:pt x="332" y="498"/>
                  </a:lnTo>
                  <a:lnTo>
                    <a:pt x="321" y="508"/>
                  </a:lnTo>
                  <a:lnTo>
                    <a:pt x="310" y="509"/>
                  </a:lnTo>
                  <a:lnTo>
                    <a:pt x="297" y="517"/>
                  </a:lnTo>
                  <a:lnTo>
                    <a:pt x="284" y="514"/>
                  </a:lnTo>
                  <a:lnTo>
                    <a:pt x="278" y="501"/>
                  </a:lnTo>
                  <a:lnTo>
                    <a:pt x="276" y="484"/>
                  </a:lnTo>
                  <a:lnTo>
                    <a:pt x="252" y="476"/>
                  </a:lnTo>
                  <a:lnTo>
                    <a:pt x="244" y="463"/>
                  </a:lnTo>
                  <a:lnTo>
                    <a:pt x="197" y="421"/>
                  </a:lnTo>
                  <a:lnTo>
                    <a:pt x="131" y="346"/>
                  </a:lnTo>
                  <a:lnTo>
                    <a:pt x="131" y="340"/>
                  </a:lnTo>
                  <a:lnTo>
                    <a:pt x="126" y="340"/>
                  </a:lnTo>
                  <a:lnTo>
                    <a:pt x="122" y="348"/>
                  </a:lnTo>
                  <a:lnTo>
                    <a:pt x="114" y="343"/>
                  </a:lnTo>
                  <a:lnTo>
                    <a:pt x="109" y="346"/>
                  </a:lnTo>
                  <a:lnTo>
                    <a:pt x="104" y="332"/>
                  </a:lnTo>
                  <a:lnTo>
                    <a:pt x="101" y="337"/>
                  </a:lnTo>
                  <a:lnTo>
                    <a:pt x="99" y="334"/>
                  </a:lnTo>
                  <a:lnTo>
                    <a:pt x="94" y="335"/>
                  </a:lnTo>
                  <a:lnTo>
                    <a:pt x="91" y="332"/>
                  </a:lnTo>
                  <a:lnTo>
                    <a:pt x="88" y="334"/>
                  </a:lnTo>
                  <a:lnTo>
                    <a:pt x="87" y="329"/>
                  </a:lnTo>
                  <a:lnTo>
                    <a:pt x="91" y="326"/>
                  </a:lnTo>
                  <a:lnTo>
                    <a:pt x="94" y="329"/>
                  </a:lnTo>
                  <a:lnTo>
                    <a:pt x="93" y="326"/>
                  </a:lnTo>
                  <a:lnTo>
                    <a:pt x="96" y="324"/>
                  </a:lnTo>
                  <a:lnTo>
                    <a:pt x="91" y="321"/>
                  </a:lnTo>
                  <a:lnTo>
                    <a:pt x="88" y="323"/>
                  </a:lnTo>
                  <a:lnTo>
                    <a:pt x="87" y="318"/>
                  </a:lnTo>
                  <a:lnTo>
                    <a:pt x="93" y="316"/>
                  </a:lnTo>
                  <a:lnTo>
                    <a:pt x="87" y="311"/>
                  </a:lnTo>
                  <a:lnTo>
                    <a:pt x="77" y="315"/>
                  </a:lnTo>
                  <a:lnTo>
                    <a:pt x="75" y="308"/>
                  </a:lnTo>
                  <a:lnTo>
                    <a:pt x="80" y="305"/>
                  </a:lnTo>
                  <a:lnTo>
                    <a:pt x="69" y="299"/>
                  </a:lnTo>
                  <a:lnTo>
                    <a:pt x="63" y="300"/>
                  </a:lnTo>
                  <a:lnTo>
                    <a:pt x="59" y="295"/>
                  </a:lnTo>
                  <a:lnTo>
                    <a:pt x="55" y="295"/>
                  </a:lnTo>
                  <a:lnTo>
                    <a:pt x="51" y="297"/>
                  </a:lnTo>
                  <a:lnTo>
                    <a:pt x="53" y="303"/>
                  </a:lnTo>
                  <a:lnTo>
                    <a:pt x="51" y="305"/>
                  </a:lnTo>
                  <a:lnTo>
                    <a:pt x="42" y="291"/>
                  </a:lnTo>
                  <a:lnTo>
                    <a:pt x="42" y="295"/>
                  </a:lnTo>
                  <a:lnTo>
                    <a:pt x="39" y="299"/>
                  </a:lnTo>
                  <a:lnTo>
                    <a:pt x="26" y="297"/>
                  </a:lnTo>
                  <a:lnTo>
                    <a:pt x="23" y="300"/>
                  </a:lnTo>
                  <a:lnTo>
                    <a:pt x="12" y="297"/>
                  </a:lnTo>
                  <a:lnTo>
                    <a:pt x="7" y="300"/>
                  </a:lnTo>
                  <a:lnTo>
                    <a:pt x="5" y="297"/>
                  </a:lnTo>
                  <a:lnTo>
                    <a:pt x="10" y="289"/>
                  </a:lnTo>
                  <a:lnTo>
                    <a:pt x="16" y="287"/>
                  </a:lnTo>
                  <a:lnTo>
                    <a:pt x="21" y="270"/>
                  </a:lnTo>
                  <a:lnTo>
                    <a:pt x="13" y="267"/>
                  </a:lnTo>
                  <a:lnTo>
                    <a:pt x="10" y="262"/>
                  </a:lnTo>
                  <a:lnTo>
                    <a:pt x="0" y="240"/>
                  </a:lnTo>
                  <a:lnTo>
                    <a:pt x="10" y="217"/>
                  </a:lnTo>
                  <a:lnTo>
                    <a:pt x="10" y="212"/>
                  </a:lnTo>
                  <a:lnTo>
                    <a:pt x="26" y="203"/>
                  </a:lnTo>
                  <a:lnTo>
                    <a:pt x="51" y="212"/>
                  </a:lnTo>
                  <a:lnTo>
                    <a:pt x="61" y="177"/>
                  </a:lnTo>
                  <a:lnTo>
                    <a:pt x="66" y="171"/>
                  </a:lnTo>
                  <a:lnTo>
                    <a:pt x="64" y="144"/>
                  </a:lnTo>
                  <a:lnTo>
                    <a:pt x="53" y="137"/>
                  </a:lnTo>
                  <a:lnTo>
                    <a:pt x="42" y="112"/>
                  </a:lnTo>
                  <a:lnTo>
                    <a:pt x="50" y="93"/>
                  </a:lnTo>
                  <a:lnTo>
                    <a:pt x="45" y="74"/>
                  </a:lnTo>
                  <a:lnTo>
                    <a:pt x="39" y="66"/>
                  </a:lnTo>
                  <a:lnTo>
                    <a:pt x="39" y="42"/>
                  </a:lnTo>
                  <a:lnTo>
                    <a:pt x="42" y="40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53" y="40"/>
                  </a:lnTo>
                  <a:lnTo>
                    <a:pt x="56" y="40"/>
                  </a:lnTo>
                  <a:lnTo>
                    <a:pt x="58" y="48"/>
                  </a:lnTo>
                  <a:lnTo>
                    <a:pt x="93" y="72"/>
                  </a:lnTo>
                  <a:lnTo>
                    <a:pt x="106" y="75"/>
                  </a:lnTo>
                  <a:lnTo>
                    <a:pt x="128" y="70"/>
                  </a:lnTo>
                  <a:lnTo>
                    <a:pt x="152" y="72"/>
                  </a:lnTo>
                  <a:lnTo>
                    <a:pt x="173" y="88"/>
                  </a:lnTo>
                  <a:lnTo>
                    <a:pt x="203" y="101"/>
                  </a:lnTo>
                  <a:lnTo>
                    <a:pt x="241" y="96"/>
                  </a:lnTo>
                  <a:lnTo>
                    <a:pt x="265" y="85"/>
                  </a:lnTo>
                  <a:lnTo>
                    <a:pt x="273" y="104"/>
                  </a:lnTo>
                  <a:lnTo>
                    <a:pt x="270" y="114"/>
                  </a:lnTo>
                  <a:lnTo>
                    <a:pt x="272" y="120"/>
                  </a:lnTo>
                  <a:lnTo>
                    <a:pt x="264" y="155"/>
                  </a:lnTo>
                  <a:lnTo>
                    <a:pt x="246" y="174"/>
                  </a:lnTo>
                  <a:lnTo>
                    <a:pt x="227" y="184"/>
                  </a:lnTo>
                  <a:lnTo>
                    <a:pt x="221" y="188"/>
                  </a:lnTo>
                  <a:lnTo>
                    <a:pt x="217" y="193"/>
                  </a:lnTo>
                  <a:lnTo>
                    <a:pt x="217" y="219"/>
                  </a:lnTo>
                  <a:lnTo>
                    <a:pt x="221" y="235"/>
                  </a:lnTo>
                  <a:lnTo>
                    <a:pt x="235" y="252"/>
                  </a:lnTo>
                  <a:lnTo>
                    <a:pt x="235" y="259"/>
                  </a:lnTo>
                  <a:lnTo>
                    <a:pt x="225" y="276"/>
                  </a:lnTo>
                  <a:lnTo>
                    <a:pt x="230" y="289"/>
                  </a:lnTo>
                  <a:lnTo>
                    <a:pt x="241" y="278"/>
                  </a:lnTo>
                  <a:lnTo>
                    <a:pt x="252" y="281"/>
                  </a:lnTo>
                  <a:lnTo>
                    <a:pt x="259" y="267"/>
                  </a:lnTo>
                  <a:lnTo>
                    <a:pt x="262" y="251"/>
                  </a:lnTo>
                  <a:lnTo>
                    <a:pt x="289" y="256"/>
                  </a:lnTo>
                  <a:lnTo>
                    <a:pt x="308" y="249"/>
                  </a:lnTo>
                  <a:lnTo>
                    <a:pt x="326" y="235"/>
                  </a:lnTo>
                  <a:lnTo>
                    <a:pt x="327" y="212"/>
                  </a:lnTo>
                  <a:lnTo>
                    <a:pt x="323" y="212"/>
                  </a:lnTo>
                  <a:lnTo>
                    <a:pt x="320" y="206"/>
                  </a:lnTo>
                  <a:lnTo>
                    <a:pt x="310" y="201"/>
                  </a:lnTo>
                  <a:lnTo>
                    <a:pt x="305" y="204"/>
                  </a:lnTo>
                  <a:lnTo>
                    <a:pt x="299" y="204"/>
                  </a:lnTo>
                  <a:lnTo>
                    <a:pt x="291" y="190"/>
                  </a:lnTo>
                  <a:lnTo>
                    <a:pt x="294" y="179"/>
                  </a:lnTo>
                  <a:lnTo>
                    <a:pt x="291" y="166"/>
                  </a:lnTo>
                  <a:lnTo>
                    <a:pt x="291" y="153"/>
                  </a:lnTo>
                  <a:lnTo>
                    <a:pt x="286" y="150"/>
                  </a:lnTo>
                  <a:lnTo>
                    <a:pt x="296" y="144"/>
                  </a:lnTo>
                  <a:lnTo>
                    <a:pt x="300" y="145"/>
                  </a:lnTo>
                  <a:lnTo>
                    <a:pt x="304" y="144"/>
                  </a:lnTo>
                  <a:lnTo>
                    <a:pt x="312" y="144"/>
                  </a:lnTo>
                  <a:lnTo>
                    <a:pt x="315" y="147"/>
                  </a:lnTo>
                  <a:lnTo>
                    <a:pt x="324" y="147"/>
                  </a:lnTo>
                  <a:lnTo>
                    <a:pt x="326" y="144"/>
                  </a:lnTo>
                  <a:lnTo>
                    <a:pt x="339" y="139"/>
                  </a:lnTo>
                  <a:lnTo>
                    <a:pt x="342" y="133"/>
                  </a:lnTo>
                  <a:lnTo>
                    <a:pt x="348" y="136"/>
                  </a:lnTo>
                  <a:lnTo>
                    <a:pt x="355" y="134"/>
                  </a:lnTo>
                  <a:lnTo>
                    <a:pt x="356" y="131"/>
                  </a:lnTo>
                  <a:lnTo>
                    <a:pt x="361" y="131"/>
                  </a:lnTo>
                  <a:lnTo>
                    <a:pt x="369" y="115"/>
                  </a:lnTo>
                  <a:lnTo>
                    <a:pt x="351" y="114"/>
                  </a:lnTo>
                  <a:lnTo>
                    <a:pt x="350" y="102"/>
                  </a:lnTo>
                  <a:lnTo>
                    <a:pt x="358" y="96"/>
                  </a:lnTo>
                  <a:lnTo>
                    <a:pt x="348" y="64"/>
                  </a:lnTo>
                  <a:lnTo>
                    <a:pt x="343" y="66"/>
                  </a:lnTo>
                  <a:lnTo>
                    <a:pt x="340" y="59"/>
                  </a:lnTo>
                  <a:lnTo>
                    <a:pt x="331" y="54"/>
                  </a:lnTo>
                  <a:lnTo>
                    <a:pt x="321" y="62"/>
                  </a:lnTo>
                  <a:lnTo>
                    <a:pt x="305" y="37"/>
                  </a:lnTo>
                  <a:lnTo>
                    <a:pt x="299" y="37"/>
                  </a:lnTo>
                  <a:lnTo>
                    <a:pt x="299" y="29"/>
                  </a:lnTo>
                  <a:lnTo>
                    <a:pt x="284" y="29"/>
                  </a:lnTo>
                  <a:lnTo>
                    <a:pt x="278" y="24"/>
                  </a:lnTo>
                  <a:lnTo>
                    <a:pt x="276" y="21"/>
                  </a:lnTo>
                  <a:lnTo>
                    <a:pt x="278" y="15"/>
                  </a:lnTo>
                  <a:lnTo>
                    <a:pt x="289" y="10"/>
                  </a:lnTo>
                  <a:lnTo>
                    <a:pt x="335" y="0"/>
                  </a:lnTo>
                  <a:lnTo>
                    <a:pt x="398" y="0"/>
                  </a:lnTo>
                  <a:lnTo>
                    <a:pt x="402" y="3"/>
                  </a:lnTo>
                  <a:lnTo>
                    <a:pt x="430" y="59"/>
                  </a:lnTo>
                  <a:lnTo>
                    <a:pt x="433" y="61"/>
                  </a:lnTo>
                  <a:lnTo>
                    <a:pt x="455" y="61"/>
                  </a:lnTo>
                  <a:lnTo>
                    <a:pt x="501" y="69"/>
                  </a:lnTo>
                  <a:lnTo>
                    <a:pt x="535" y="67"/>
                  </a:lnTo>
                  <a:lnTo>
                    <a:pt x="543" y="64"/>
                  </a:lnTo>
                  <a:lnTo>
                    <a:pt x="557" y="50"/>
                  </a:lnTo>
                  <a:lnTo>
                    <a:pt x="575" y="50"/>
                  </a:lnTo>
                  <a:lnTo>
                    <a:pt x="576" y="4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/>
            <a:lstStyle/>
            <a:p>
              <a:pPr algn="ctr"/>
              <a:endParaRPr lang="en-US" sz="800" dirty="0"/>
            </a:p>
          </p:txBody>
        </p:sp>
        <p:sp>
          <p:nvSpPr>
            <p:cNvPr id="37" name="Freeform 225">
              <a:extLst>
                <a:ext uri="{FF2B5EF4-FFF2-40B4-BE49-F238E27FC236}">
                  <a16:creationId xmlns:a16="http://schemas.microsoft.com/office/drawing/2014/main" id="{CF7D9812-FA5E-4A6F-9B1D-BE4EF10CFA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2400" y="3111500"/>
              <a:ext cx="939800" cy="1168400"/>
            </a:xfrm>
            <a:custGeom>
              <a:avLst/>
              <a:gdLst>
                <a:gd name="T0" fmla="*/ 544 w 592"/>
                <a:gd name="T1" fmla="*/ 346 h 736"/>
                <a:gd name="T2" fmla="*/ 493 w 592"/>
                <a:gd name="T3" fmla="*/ 404 h 736"/>
                <a:gd name="T4" fmla="*/ 498 w 592"/>
                <a:gd name="T5" fmla="*/ 501 h 736"/>
                <a:gd name="T6" fmla="*/ 549 w 592"/>
                <a:gd name="T7" fmla="*/ 539 h 736"/>
                <a:gd name="T8" fmla="*/ 527 w 592"/>
                <a:gd name="T9" fmla="*/ 594 h 736"/>
                <a:gd name="T10" fmla="*/ 565 w 592"/>
                <a:gd name="T11" fmla="*/ 637 h 736"/>
                <a:gd name="T12" fmla="*/ 589 w 592"/>
                <a:gd name="T13" fmla="*/ 710 h 736"/>
                <a:gd name="T14" fmla="*/ 544 w 592"/>
                <a:gd name="T15" fmla="*/ 707 h 736"/>
                <a:gd name="T16" fmla="*/ 484 w 592"/>
                <a:gd name="T17" fmla="*/ 716 h 736"/>
                <a:gd name="T18" fmla="*/ 457 w 592"/>
                <a:gd name="T19" fmla="*/ 728 h 736"/>
                <a:gd name="T20" fmla="*/ 429 w 592"/>
                <a:gd name="T21" fmla="*/ 718 h 736"/>
                <a:gd name="T22" fmla="*/ 386 w 592"/>
                <a:gd name="T23" fmla="*/ 680 h 736"/>
                <a:gd name="T24" fmla="*/ 346 w 592"/>
                <a:gd name="T25" fmla="*/ 675 h 736"/>
                <a:gd name="T26" fmla="*/ 308 w 592"/>
                <a:gd name="T27" fmla="*/ 649 h 736"/>
                <a:gd name="T28" fmla="*/ 268 w 592"/>
                <a:gd name="T29" fmla="*/ 665 h 736"/>
                <a:gd name="T30" fmla="*/ 252 w 592"/>
                <a:gd name="T31" fmla="*/ 710 h 736"/>
                <a:gd name="T32" fmla="*/ 225 w 592"/>
                <a:gd name="T33" fmla="*/ 732 h 736"/>
                <a:gd name="T34" fmla="*/ 145 w 592"/>
                <a:gd name="T35" fmla="*/ 705 h 736"/>
                <a:gd name="T36" fmla="*/ 128 w 592"/>
                <a:gd name="T37" fmla="*/ 669 h 736"/>
                <a:gd name="T38" fmla="*/ 142 w 592"/>
                <a:gd name="T39" fmla="*/ 633 h 736"/>
                <a:gd name="T40" fmla="*/ 69 w 592"/>
                <a:gd name="T41" fmla="*/ 627 h 736"/>
                <a:gd name="T42" fmla="*/ 61 w 592"/>
                <a:gd name="T43" fmla="*/ 538 h 736"/>
                <a:gd name="T44" fmla="*/ 0 w 592"/>
                <a:gd name="T45" fmla="*/ 503 h 736"/>
                <a:gd name="T46" fmla="*/ 23 w 592"/>
                <a:gd name="T47" fmla="*/ 474 h 736"/>
                <a:gd name="T48" fmla="*/ 32 w 592"/>
                <a:gd name="T49" fmla="*/ 432 h 736"/>
                <a:gd name="T50" fmla="*/ 21 w 592"/>
                <a:gd name="T51" fmla="*/ 385 h 736"/>
                <a:gd name="T52" fmla="*/ 42 w 592"/>
                <a:gd name="T53" fmla="*/ 353 h 736"/>
                <a:gd name="T54" fmla="*/ 56 w 592"/>
                <a:gd name="T55" fmla="*/ 326 h 736"/>
                <a:gd name="T56" fmla="*/ 94 w 592"/>
                <a:gd name="T57" fmla="*/ 294 h 736"/>
                <a:gd name="T58" fmla="*/ 158 w 592"/>
                <a:gd name="T59" fmla="*/ 308 h 736"/>
                <a:gd name="T60" fmla="*/ 216 w 592"/>
                <a:gd name="T61" fmla="*/ 290 h 736"/>
                <a:gd name="T62" fmla="*/ 243 w 592"/>
                <a:gd name="T63" fmla="*/ 308 h 736"/>
                <a:gd name="T64" fmla="*/ 278 w 592"/>
                <a:gd name="T65" fmla="*/ 334 h 736"/>
                <a:gd name="T66" fmla="*/ 310 w 592"/>
                <a:gd name="T67" fmla="*/ 380 h 736"/>
                <a:gd name="T68" fmla="*/ 335 w 592"/>
                <a:gd name="T69" fmla="*/ 381 h 736"/>
                <a:gd name="T70" fmla="*/ 342 w 592"/>
                <a:gd name="T71" fmla="*/ 369 h 736"/>
                <a:gd name="T72" fmla="*/ 367 w 592"/>
                <a:gd name="T73" fmla="*/ 349 h 736"/>
                <a:gd name="T74" fmla="*/ 386 w 592"/>
                <a:gd name="T75" fmla="*/ 340 h 736"/>
                <a:gd name="T76" fmla="*/ 364 w 592"/>
                <a:gd name="T77" fmla="*/ 318 h 736"/>
                <a:gd name="T78" fmla="*/ 329 w 592"/>
                <a:gd name="T79" fmla="*/ 308 h 736"/>
                <a:gd name="T80" fmla="*/ 311 w 592"/>
                <a:gd name="T81" fmla="*/ 314 h 736"/>
                <a:gd name="T82" fmla="*/ 281 w 592"/>
                <a:gd name="T83" fmla="*/ 263 h 736"/>
                <a:gd name="T84" fmla="*/ 251 w 592"/>
                <a:gd name="T85" fmla="*/ 219 h 736"/>
                <a:gd name="T86" fmla="*/ 220 w 592"/>
                <a:gd name="T87" fmla="*/ 195 h 736"/>
                <a:gd name="T88" fmla="*/ 232 w 592"/>
                <a:gd name="T89" fmla="*/ 171 h 736"/>
                <a:gd name="T90" fmla="*/ 297 w 592"/>
                <a:gd name="T91" fmla="*/ 144 h 736"/>
                <a:gd name="T92" fmla="*/ 337 w 592"/>
                <a:gd name="T93" fmla="*/ 131 h 736"/>
                <a:gd name="T94" fmla="*/ 356 w 592"/>
                <a:gd name="T95" fmla="*/ 30 h 736"/>
                <a:gd name="T96" fmla="*/ 417 w 592"/>
                <a:gd name="T97" fmla="*/ 16 h 736"/>
                <a:gd name="T98" fmla="*/ 433 w 592"/>
                <a:gd name="T99" fmla="*/ 18 h 736"/>
                <a:gd name="T100" fmla="*/ 490 w 592"/>
                <a:gd name="T101" fmla="*/ 81 h 736"/>
                <a:gd name="T102" fmla="*/ 509 w 592"/>
                <a:gd name="T103" fmla="*/ 180 h 736"/>
                <a:gd name="T104" fmla="*/ 533 w 592"/>
                <a:gd name="T105" fmla="*/ 270 h 736"/>
                <a:gd name="T106" fmla="*/ 536 w 592"/>
                <a:gd name="T107" fmla="*/ 295 h 736"/>
                <a:gd name="T108" fmla="*/ 578 w 592"/>
                <a:gd name="T109" fmla="*/ 294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92" h="736">
                  <a:moveTo>
                    <a:pt x="592" y="313"/>
                  </a:moveTo>
                  <a:lnTo>
                    <a:pt x="578" y="337"/>
                  </a:lnTo>
                  <a:lnTo>
                    <a:pt x="572" y="343"/>
                  </a:lnTo>
                  <a:lnTo>
                    <a:pt x="544" y="346"/>
                  </a:lnTo>
                  <a:lnTo>
                    <a:pt x="530" y="362"/>
                  </a:lnTo>
                  <a:lnTo>
                    <a:pt x="517" y="372"/>
                  </a:lnTo>
                  <a:lnTo>
                    <a:pt x="508" y="402"/>
                  </a:lnTo>
                  <a:lnTo>
                    <a:pt x="493" y="404"/>
                  </a:lnTo>
                  <a:lnTo>
                    <a:pt x="490" y="431"/>
                  </a:lnTo>
                  <a:lnTo>
                    <a:pt x="481" y="448"/>
                  </a:lnTo>
                  <a:lnTo>
                    <a:pt x="477" y="472"/>
                  </a:lnTo>
                  <a:lnTo>
                    <a:pt x="498" y="501"/>
                  </a:lnTo>
                  <a:lnTo>
                    <a:pt x="536" y="507"/>
                  </a:lnTo>
                  <a:lnTo>
                    <a:pt x="548" y="512"/>
                  </a:lnTo>
                  <a:lnTo>
                    <a:pt x="554" y="523"/>
                  </a:lnTo>
                  <a:lnTo>
                    <a:pt x="549" y="539"/>
                  </a:lnTo>
                  <a:lnTo>
                    <a:pt x="554" y="557"/>
                  </a:lnTo>
                  <a:lnTo>
                    <a:pt x="552" y="568"/>
                  </a:lnTo>
                  <a:lnTo>
                    <a:pt x="543" y="587"/>
                  </a:lnTo>
                  <a:lnTo>
                    <a:pt x="527" y="594"/>
                  </a:lnTo>
                  <a:lnTo>
                    <a:pt x="525" y="600"/>
                  </a:lnTo>
                  <a:lnTo>
                    <a:pt x="528" y="610"/>
                  </a:lnTo>
                  <a:lnTo>
                    <a:pt x="544" y="624"/>
                  </a:lnTo>
                  <a:lnTo>
                    <a:pt x="565" y="637"/>
                  </a:lnTo>
                  <a:lnTo>
                    <a:pt x="578" y="651"/>
                  </a:lnTo>
                  <a:lnTo>
                    <a:pt x="581" y="661"/>
                  </a:lnTo>
                  <a:lnTo>
                    <a:pt x="581" y="692"/>
                  </a:lnTo>
                  <a:lnTo>
                    <a:pt x="589" y="710"/>
                  </a:lnTo>
                  <a:lnTo>
                    <a:pt x="575" y="718"/>
                  </a:lnTo>
                  <a:lnTo>
                    <a:pt x="567" y="718"/>
                  </a:lnTo>
                  <a:lnTo>
                    <a:pt x="554" y="710"/>
                  </a:lnTo>
                  <a:lnTo>
                    <a:pt x="544" y="707"/>
                  </a:lnTo>
                  <a:lnTo>
                    <a:pt x="535" y="705"/>
                  </a:lnTo>
                  <a:lnTo>
                    <a:pt x="532" y="712"/>
                  </a:lnTo>
                  <a:lnTo>
                    <a:pt x="493" y="705"/>
                  </a:lnTo>
                  <a:lnTo>
                    <a:pt x="484" y="716"/>
                  </a:lnTo>
                  <a:lnTo>
                    <a:pt x="477" y="716"/>
                  </a:lnTo>
                  <a:lnTo>
                    <a:pt x="469" y="726"/>
                  </a:lnTo>
                  <a:lnTo>
                    <a:pt x="460" y="721"/>
                  </a:lnTo>
                  <a:lnTo>
                    <a:pt x="457" y="728"/>
                  </a:lnTo>
                  <a:lnTo>
                    <a:pt x="452" y="724"/>
                  </a:lnTo>
                  <a:lnTo>
                    <a:pt x="452" y="732"/>
                  </a:lnTo>
                  <a:lnTo>
                    <a:pt x="447" y="736"/>
                  </a:lnTo>
                  <a:lnTo>
                    <a:pt x="429" y="718"/>
                  </a:lnTo>
                  <a:lnTo>
                    <a:pt x="423" y="708"/>
                  </a:lnTo>
                  <a:lnTo>
                    <a:pt x="425" y="691"/>
                  </a:lnTo>
                  <a:lnTo>
                    <a:pt x="407" y="692"/>
                  </a:lnTo>
                  <a:lnTo>
                    <a:pt x="386" y="680"/>
                  </a:lnTo>
                  <a:lnTo>
                    <a:pt x="383" y="681"/>
                  </a:lnTo>
                  <a:lnTo>
                    <a:pt x="372" y="678"/>
                  </a:lnTo>
                  <a:lnTo>
                    <a:pt x="356" y="681"/>
                  </a:lnTo>
                  <a:lnTo>
                    <a:pt x="346" y="675"/>
                  </a:lnTo>
                  <a:lnTo>
                    <a:pt x="345" y="659"/>
                  </a:lnTo>
                  <a:lnTo>
                    <a:pt x="342" y="656"/>
                  </a:lnTo>
                  <a:lnTo>
                    <a:pt x="316" y="649"/>
                  </a:lnTo>
                  <a:lnTo>
                    <a:pt x="308" y="649"/>
                  </a:lnTo>
                  <a:lnTo>
                    <a:pt x="294" y="640"/>
                  </a:lnTo>
                  <a:lnTo>
                    <a:pt x="270" y="648"/>
                  </a:lnTo>
                  <a:lnTo>
                    <a:pt x="267" y="659"/>
                  </a:lnTo>
                  <a:lnTo>
                    <a:pt x="268" y="665"/>
                  </a:lnTo>
                  <a:lnTo>
                    <a:pt x="262" y="680"/>
                  </a:lnTo>
                  <a:lnTo>
                    <a:pt x="264" y="683"/>
                  </a:lnTo>
                  <a:lnTo>
                    <a:pt x="260" y="700"/>
                  </a:lnTo>
                  <a:lnTo>
                    <a:pt x="252" y="710"/>
                  </a:lnTo>
                  <a:lnTo>
                    <a:pt x="246" y="708"/>
                  </a:lnTo>
                  <a:lnTo>
                    <a:pt x="241" y="723"/>
                  </a:lnTo>
                  <a:lnTo>
                    <a:pt x="228" y="728"/>
                  </a:lnTo>
                  <a:lnTo>
                    <a:pt x="225" y="732"/>
                  </a:lnTo>
                  <a:lnTo>
                    <a:pt x="212" y="732"/>
                  </a:lnTo>
                  <a:lnTo>
                    <a:pt x="177" y="712"/>
                  </a:lnTo>
                  <a:lnTo>
                    <a:pt x="152" y="705"/>
                  </a:lnTo>
                  <a:lnTo>
                    <a:pt x="145" y="705"/>
                  </a:lnTo>
                  <a:lnTo>
                    <a:pt x="141" y="700"/>
                  </a:lnTo>
                  <a:lnTo>
                    <a:pt x="134" y="691"/>
                  </a:lnTo>
                  <a:lnTo>
                    <a:pt x="136" y="678"/>
                  </a:lnTo>
                  <a:lnTo>
                    <a:pt x="128" y="669"/>
                  </a:lnTo>
                  <a:lnTo>
                    <a:pt x="126" y="662"/>
                  </a:lnTo>
                  <a:lnTo>
                    <a:pt x="128" y="656"/>
                  </a:lnTo>
                  <a:lnTo>
                    <a:pt x="141" y="640"/>
                  </a:lnTo>
                  <a:lnTo>
                    <a:pt x="142" y="633"/>
                  </a:lnTo>
                  <a:lnTo>
                    <a:pt x="131" y="619"/>
                  </a:lnTo>
                  <a:lnTo>
                    <a:pt x="125" y="616"/>
                  </a:lnTo>
                  <a:lnTo>
                    <a:pt x="107" y="616"/>
                  </a:lnTo>
                  <a:lnTo>
                    <a:pt x="69" y="627"/>
                  </a:lnTo>
                  <a:lnTo>
                    <a:pt x="67" y="621"/>
                  </a:lnTo>
                  <a:lnTo>
                    <a:pt x="62" y="589"/>
                  </a:lnTo>
                  <a:lnTo>
                    <a:pt x="67" y="568"/>
                  </a:lnTo>
                  <a:lnTo>
                    <a:pt x="61" y="538"/>
                  </a:lnTo>
                  <a:lnTo>
                    <a:pt x="56" y="525"/>
                  </a:lnTo>
                  <a:lnTo>
                    <a:pt x="46" y="514"/>
                  </a:lnTo>
                  <a:lnTo>
                    <a:pt x="26" y="512"/>
                  </a:lnTo>
                  <a:lnTo>
                    <a:pt x="0" y="503"/>
                  </a:lnTo>
                  <a:lnTo>
                    <a:pt x="7" y="487"/>
                  </a:lnTo>
                  <a:lnTo>
                    <a:pt x="0" y="474"/>
                  </a:lnTo>
                  <a:lnTo>
                    <a:pt x="16" y="477"/>
                  </a:lnTo>
                  <a:lnTo>
                    <a:pt x="23" y="474"/>
                  </a:lnTo>
                  <a:lnTo>
                    <a:pt x="23" y="463"/>
                  </a:lnTo>
                  <a:lnTo>
                    <a:pt x="37" y="439"/>
                  </a:lnTo>
                  <a:lnTo>
                    <a:pt x="35" y="434"/>
                  </a:lnTo>
                  <a:lnTo>
                    <a:pt x="32" y="432"/>
                  </a:lnTo>
                  <a:lnTo>
                    <a:pt x="31" y="420"/>
                  </a:lnTo>
                  <a:lnTo>
                    <a:pt x="23" y="416"/>
                  </a:lnTo>
                  <a:lnTo>
                    <a:pt x="15" y="404"/>
                  </a:lnTo>
                  <a:lnTo>
                    <a:pt x="21" y="385"/>
                  </a:lnTo>
                  <a:lnTo>
                    <a:pt x="18" y="375"/>
                  </a:lnTo>
                  <a:lnTo>
                    <a:pt x="23" y="372"/>
                  </a:lnTo>
                  <a:lnTo>
                    <a:pt x="34" y="351"/>
                  </a:lnTo>
                  <a:lnTo>
                    <a:pt x="42" y="353"/>
                  </a:lnTo>
                  <a:lnTo>
                    <a:pt x="48" y="348"/>
                  </a:lnTo>
                  <a:lnTo>
                    <a:pt x="45" y="343"/>
                  </a:lnTo>
                  <a:lnTo>
                    <a:pt x="50" y="340"/>
                  </a:lnTo>
                  <a:lnTo>
                    <a:pt x="56" y="326"/>
                  </a:lnTo>
                  <a:lnTo>
                    <a:pt x="74" y="314"/>
                  </a:lnTo>
                  <a:lnTo>
                    <a:pt x="82" y="302"/>
                  </a:lnTo>
                  <a:lnTo>
                    <a:pt x="90" y="298"/>
                  </a:lnTo>
                  <a:lnTo>
                    <a:pt x="94" y="294"/>
                  </a:lnTo>
                  <a:lnTo>
                    <a:pt x="101" y="294"/>
                  </a:lnTo>
                  <a:lnTo>
                    <a:pt x="107" y="286"/>
                  </a:lnTo>
                  <a:lnTo>
                    <a:pt x="129" y="282"/>
                  </a:lnTo>
                  <a:lnTo>
                    <a:pt x="158" y="308"/>
                  </a:lnTo>
                  <a:lnTo>
                    <a:pt x="166" y="306"/>
                  </a:lnTo>
                  <a:lnTo>
                    <a:pt x="185" y="295"/>
                  </a:lnTo>
                  <a:lnTo>
                    <a:pt x="201" y="290"/>
                  </a:lnTo>
                  <a:lnTo>
                    <a:pt x="216" y="290"/>
                  </a:lnTo>
                  <a:lnTo>
                    <a:pt x="217" y="313"/>
                  </a:lnTo>
                  <a:lnTo>
                    <a:pt x="220" y="314"/>
                  </a:lnTo>
                  <a:lnTo>
                    <a:pt x="232" y="314"/>
                  </a:lnTo>
                  <a:lnTo>
                    <a:pt x="243" y="308"/>
                  </a:lnTo>
                  <a:lnTo>
                    <a:pt x="254" y="310"/>
                  </a:lnTo>
                  <a:lnTo>
                    <a:pt x="257" y="306"/>
                  </a:lnTo>
                  <a:lnTo>
                    <a:pt x="270" y="303"/>
                  </a:lnTo>
                  <a:lnTo>
                    <a:pt x="278" y="334"/>
                  </a:lnTo>
                  <a:lnTo>
                    <a:pt x="268" y="351"/>
                  </a:lnTo>
                  <a:lnTo>
                    <a:pt x="271" y="370"/>
                  </a:lnTo>
                  <a:lnTo>
                    <a:pt x="286" y="377"/>
                  </a:lnTo>
                  <a:lnTo>
                    <a:pt x="310" y="380"/>
                  </a:lnTo>
                  <a:lnTo>
                    <a:pt x="315" y="375"/>
                  </a:lnTo>
                  <a:lnTo>
                    <a:pt x="324" y="377"/>
                  </a:lnTo>
                  <a:lnTo>
                    <a:pt x="329" y="370"/>
                  </a:lnTo>
                  <a:lnTo>
                    <a:pt x="335" y="381"/>
                  </a:lnTo>
                  <a:lnTo>
                    <a:pt x="340" y="383"/>
                  </a:lnTo>
                  <a:lnTo>
                    <a:pt x="354" y="381"/>
                  </a:lnTo>
                  <a:lnTo>
                    <a:pt x="358" y="380"/>
                  </a:lnTo>
                  <a:lnTo>
                    <a:pt x="342" y="369"/>
                  </a:lnTo>
                  <a:lnTo>
                    <a:pt x="348" y="354"/>
                  </a:lnTo>
                  <a:lnTo>
                    <a:pt x="353" y="349"/>
                  </a:lnTo>
                  <a:lnTo>
                    <a:pt x="359" y="346"/>
                  </a:lnTo>
                  <a:lnTo>
                    <a:pt x="367" y="349"/>
                  </a:lnTo>
                  <a:lnTo>
                    <a:pt x="372" y="348"/>
                  </a:lnTo>
                  <a:lnTo>
                    <a:pt x="377" y="340"/>
                  </a:lnTo>
                  <a:lnTo>
                    <a:pt x="382" y="338"/>
                  </a:lnTo>
                  <a:lnTo>
                    <a:pt x="386" y="340"/>
                  </a:lnTo>
                  <a:lnTo>
                    <a:pt x="394" y="327"/>
                  </a:lnTo>
                  <a:lnTo>
                    <a:pt x="394" y="322"/>
                  </a:lnTo>
                  <a:lnTo>
                    <a:pt x="382" y="324"/>
                  </a:lnTo>
                  <a:lnTo>
                    <a:pt x="364" y="318"/>
                  </a:lnTo>
                  <a:lnTo>
                    <a:pt x="350" y="318"/>
                  </a:lnTo>
                  <a:lnTo>
                    <a:pt x="337" y="313"/>
                  </a:lnTo>
                  <a:lnTo>
                    <a:pt x="335" y="310"/>
                  </a:lnTo>
                  <a:lnTo>
                    <a:pt x="329" y="308"/>
                  </a:lnTo>
                  <a:lnTo>
                    <a:pt x="326" y="310"/>
                  </a:lnTo>
                  <a:lnTo>
                    <a:pt x="323" y="308"/>
                  </a:lnTo>
                  <a:lnTo>
                    <a:pt x="315" y="310"/>
                  </a:lnTo>
                  <a:lnTo>
                    <a:pt x="311" y="314"/>
                  </a:lnTo>
                  <a:lnTo>
                    <a:pt x="303" y="313"/>
                  </a:lnTo>
                  <a:lnTo>
                    <a:pt x="287" y="287"/>
                  </a:lnTo>
                  <a:lnTo>
                    <a:pt x="286" y="273"/>
                  </a:lnTo>
                  <a:lnTo>
                    <a:pt x="281" y="263"/>
                  </a:lnTo>
                  <a:lnTo>
                    <a:pt x="271" y="260"/>
                  </a:lnTo>
                  <a:lnTo>
                    <a:pt x="267" y="241"/>
                  </a:lnTo>
                  <a:lnTo>
                    <a:pt x="264" y="235"/>
                  </a:lnTo>
                  <a:lnTo>
                    <a:pt x="251" y="219"/>
                  </a:lnTo>
                  <a:lnTo>
                    <a:pt x="235" y="206"/>
                  </a:lnTo>
                  <a:lnTo>
                    <a:pt x="230" y="196"/>
                  </a:lnTo>
                  <a:lnTo>
                    <a:pt x="225" y="193"/>
                  </a:lnTo>
                  <a:lnTo>
                    <a:pt x="220" y="195"/>
                  </a:lnTo>
                  <a:lnTo>
                    <a:pt x="217" y="185"/>
                  </a:lnTo>
                  <a:lnTo>
                    <a:pt x="224" y="179"/>
                  </a:lnTo>
                  <a:lnTo>
                    <a:pt x="224" y="174"/>
                  </a:lnTo>
                  <a:lnTo>
                    <a:pt x="232" y="171"/>
                  </a:lnTo>
                  <a:lnTo>
                    <a:pt x="235" y="161"/>
                  </a:lnTo>
                  <a:lnTo>
                    <a:pt x="238" y="164"/>
                  </a:lnTo>
                  <a:lnTo>
                    <a:pt x="248" y="163"/>
                  </a:lnTo>
                  <a:lnTo>
                    <a:pt x="297" y="144"/>
                  </a:lnTo>
                  <a:lnTo>
                    <a:pt x="305" y="145"/>
                  </a:lnTo>
                  <a:lnTo>
                    <a:pt x="311" y="142"/>
                  </a:lnTo>
                  <a:lnTo>
                    <a:pt x="315" y="144"/>
                  </a:lnTo>
                  <a:lnTo>
                    <a:pt x="337" y="131"/>
                  </a:lnTo>
                  <a:lnTo>
                    <a:pt x="342" y="78"/>
                  </a:lnTo>
                  <a:lnTo>
                    <a:pt x="346" y="69"/>
                  </a:lnTo>
                  <a:lnTo>
                    <a:pt x="348" y="56"/>
                  </a:lnTo>
                  <a:lnTo>
                    <a:pt x="356" y="30"/>
                  </a:lnTo>
                  <a:lnTo>
                    <a:pt x="364" y="19"/>
                  </a:lnTo>
                  <a:lnTo>
                    <a:pt x="404" y="16"/>
                  </a:lnTo>
                  <a:lnTo>
                    <a:pt x="410" y="14"/>
                  </a:lnTo>
                  <a:lnTo>
                    <a:pt x="417" y="16"/>
                  </a:lnTo>
                  <a:lnTo>
                    <a:pt x="423" y="26"/>
                  </a:lnTo>
                  <a:lnTo>
                    <a:pt x="426" y="26"/>
                  </a:lnTo>
                  <a:lnTo>
                    <a:pt x="431" y="24"/>
                  </a:lnTo>
                  <a:lnTo>
                    <a:pt x="433" y="18"/>
                  </a:lnTo>
                  <a:lnTo>
                    <a:pt x="445" y="13"/>
                  </a:lnTo>
                  <a:lnTo>
                    <a:pt x="452" y="0"/>
                  </a:lnTo>
                  <a:lnTo>
                    <a:pt x="481" y="18"/>
                  </a:lnTo>
                  <a:lnTo>
                    <a:pt x="490" y="81"/>
                  </a:lnTo>
                  <a:lnTo>
                    <a:pt x="493" y="94"/>
                  </a:lnTo>
                  <a:lnTo>
                    <a:pt x="497" y="101"/>
                  </a:lnTo>
                  <a:lnTo>
                    <a:pt x="501" y="160"/>
                  </a:lnTo>
                  <a:lnTo>
                    <a:pt x="509" y="180"/>
                  </a:lnTo>
                  <a:lnTo>
                    <a:pt x="519" y="184"/>
                  </a:lnTo>
                  <a:lnTo>
                    <a:pt x="528" y="198"/>
                  </a:lnTo>
                  <a:lnTo>
                    <a:pt x="536" y="230"/>
                  </a:lnTo>
                  <a:lnTo>
                    <a:pt x="533" y="270"/>
                  </a:lnTo>
                  <a:lnTo>
                    <a:pt x="522" y="276"/>
                  </a:lnTo>
                  <a:lnTo>
                    <a:pt x="520" y="282"/>
                  </a:lnTo>
                  <a:lnTo>
                    <a:pt x="530" y="292"/>
                  </a:lnTo>
                  <a:lnTo>
                    <a:pt x="536" y="295"/>
                  </a:lnTo>
                  <a:lnTo>
                    <a:pt x="543" y="295"/>
                  </a:lnTo>
                  <a:lnTo>
                    <a:pt x="549" y="289"/>
                  </a:lnTo>
                  <a:lnTo>
                    <a:pt x="572" y="290"/>
                  </a:lnTo>
                  <a:lnTo>
                    <a:pt x="578" y="294"/>
                  </a:lnTo>
                  <a:lnTo>
                    <a:pt x="592" y="313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8" name="Freeform 226">
              <a:extLst>
                <a:ext uri="{FF2B5EF4-FFF2-40B4-BE49-F238E27FC236}">
                  <a16:creationId xmlns:a16="http://schemas.microsoft.com/office/drawing/2014/main" id="{0D8FED85-2D3D-4F40-8405-FDAEE967F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4538" y="2805113"/>
              <a:ext cx="792162" cy="842962"/>
            </a:xfrm>
            <a:custGeom>
              <a:avLst/>
              <a:gdLst>
                <a:gd name="T0" fmla="*/ 365 w 499"/>
                <a:gd name="T1" fmla="*/ 70 h 531"/>
                <a:gd name="T2" fmla="*/ 387 w 499"/>
                <a:gd name="T3" fmla="*/ 67 h 531"/>
                <a:gd name="T4" fmla="*/ 419 w 499"/>
                <a:gd name="T5" fmla="*/ 97 h 531"/>
                <a:gd name="T6" fmla="*/ 494 w 499"/>
                <a:gd name="T7" fmla="*/ 145 h 531"/>
                <a:gd name="T8" fmla="*/ 440 w 499"/>
                <a:gd name="T9" fmla="*/ 166 h 531"/>
                <a:gd name="T10" fmla="*/ 429 w 499"/>
                <a:gd name="T11" fmla="*/ 158 h 531"/>
                <a:gd name="T12" fmla="*/ 416 w 499"/>
                <a:gd name="T13" fmla="*/ 148 h 531"/>
                <a:gd name="T14" fmla="*/ 397 w 499"/>
                <a:gd name="T15" fmla="*/ 128 h 531"/>
                <a:gd name="T16" fmla="*/ 311 w 499"/>
                <a:gd name="T17" fmla="*/ 120 h 531"/>
                <a:gd name="T18" fmla="*/ 304 w 499"/>
                <a:gd name="T19" fmla="*/ 176 h 531"/>
                <a:gd name="T20" fmla="*/ 315 w 499"/>
                <a:gd name="T21" fmla="*/ 174 h 531"/>
                <a:gd name="T22" fmla="*/ 333 w 499"/>
                <a:gd name="T23" fmla="*/ 179 h 531"/>
                <a:gd name="T24" fmla="*/ 317 w 499"/>
                <a:gd name="T25" fmla="*/ 190 h 531"/>
                <a:gd name="T26" fmla="*/ 287 w 499"/>
                <a:gd name="T27" fmla="*/ 227 h 531"/>
                <a:gd name="T28" fmla="*/ 239 w 499"/>
                <a:gd name="T29" fmla="*/ 243 h 531"/>
                <a:gd name="T30" fmla="*/ 221 w 499"/>
                <a:gd name="T31" fmla="*/ 276 h 531"/>
                <a:gd name="T32" fmla="*/ 229 w 499"/>
                <a:gd name="T33" fmla="*/ 326 h 531"/>
                <a:gd name="T34" fmla="*/ 236 w 499"/>
                <a:gd name="T35" fmla="*/ 353 h 531"/>
                <a:gd name="T36" fmla="*/ 236 w 499"/>
                <a:gd name="T37" fmla="*/ 380 h 531"/>
                <a:gd name="T38" fmla="*/ 239 w 499"/>
                <a:gd name="T39" fmla="*/ 391 h 531"/>
                <a:gd name="T40" fmla="*/ 242 w 499"/>
                <a:gd name="T41" fmla="*/ 402 h 531"/>
                <a:gd name="T42" fmla="*/ 237 w 499"/>
                <a:gd name="T43" fmla="*/ 405 h 531"/>
                <a:gd name="T44" fmla="*/ 228 w 499"/>
                <a:gd name="T45" fmla="*/ 410 h 531"/>
                <a:gd name="T46" fmla="*/ 213 w 499"/>
                <a:gd name="T47" fmla="*/ 412 h 531"/>
                <a:gd name="T48" fmla="*/ 205 w 499"/>
                <a:gd name="T49" fmla="*/ 429 h 531"/>
                <a:gd name="T50" fmla="*/ 205 w 499"/>
                <a:gd name="T51" fmla="*/ 450 h 531"/>
                <a:gd name="T52" fmla="*/ 221 w 499"/>
                <a:gd name="T53" fmla="*/ 468 h 531"/>
                <a:gd name="T54" fmla="*/ 213 w 499"/>
                <a:gd name="T55" fmla="*/ 479 h 531"/>
                <a:gd name="T56" fmla="*/ 202 w 499"/>
                <a:gd name="T57" fmla="*/ 485 h 531"/>
                <a:gd name="T58" fmla="*/ 178 w 499"/>
                <a:gd name="T59" fmla="*/ 495 h 531"/>
                <a:gd name="T60" fmla="*/ 151 w 499"/>
                <a:gd name="T61" fmla="*/ 479 h 531"/>
                <a:gd name="T62" fmla="*/ 126 w 499"/>
                <a:gd name="T63" fmla="*/ 475 h 531"/>
                <a:gd name="T64" fmla="*/ 121 w 499"/>
                <a:gd name="T65" fmla="*/ 493 h 531"/>
                <a:gd name="T66" fmla="*/ 89 w 499"/>
                <a:gd name="T67" fmla="*/ 493 h 531"/>
                <a:gd name="T68" fmla="*/ 78 w 499"/>
                <a:gd name="T69" fmla="*/ 512 h 531"/>
                <a:gd name="T70" fmla="*/ 76 w 499"/>
                <a:gd name="T71" fmla="*/ 530 h 531"/>
                <a:gd name="T72" fmla="*/ 55 w 499"/>
                <a:gd name="T73" fmla="*/ 525 h 531"/>
                <a:gd name="T74" fmla="*/ 33 w 499"/>
                <a:gd name="T75" fmla="*/ 509 h 531"/>
                <a:gd name="T76" fmla="*/ 35 w 499"/>
                <a:gd name="T77" fmla="*/ 488 h 531"/>
                <a:gd name="T78" fmla="*/ 8 w 499"/>
                <a:gd name="T79" fmla="*/ 466 h 531"/>
                <a:gd name="T80" fmla="*/ 12 w 499"/>
                <a:gd name="T81" fmla="*/ 455 h 531"/>
                <a:gd name="T82" fmla="*/ 4 w 499"/>
                <a:gd name="T83" fmla="*/ 434 h 531"/>
                <a:gd name="T84" fmla="*/ 6 w 499"/>
                <a:gd name="T85" fmla="*/ 397 h 531"/>
                <a:gd name="T86" fmla="*/ 9 w 499"/>
                <a:gd name="T87" fmla="*/ 373 h 531"/>
                <a:gd name="T88" fmla="*/ 14 w 499"/>
                <a:gd name="T89" fmla="*/ 375 h 531"/>
                <a:gd name="T90" fmla="*/ 38 w 499"/>
                <a:gd name="T91" fmla="*/ 367 h 531"/>
                <a:gd name="T92" fmla="*/ 68 w 499"/>
                <a:gd name="T93" fmla="*/ 337 h 531"/>
                <a:gd name="T94" fmla="*/ 70 w 499"/>
                <a:gd name="T95" fmla="*/ 327 h 531"/>
                <a:gd name="T96" fmla="*/ 73 w 499"/>
                <a:gd name="T97" fmla="*/ 319 h 531"/>
                <a:gd name="T98" fmla="*/ 67 w 499"/>
                <a:gd name="T99" fmla="*/ 302 h 531"/>
                <a:gd name="T100" fmla="*/ 57 w 499"/>
                <a:gd name="T101" fmla="*/ 260 h 531"/>
                <a:gd name="T102" fmla="*/ 41 w 499"/>
                <a:gd name="T103" fmla="*/ 174 h 531"/>
                <a:gd name="T104" fmla="*/ 39 w 499"/>
                <a:gd name="T105" fmla="*/ 131 h 531"/>
                <a:gd name="T106" fmla="*/ 43 w 499"/>
                <a:gd name="T107" fmla="*/ 101 h 531"/>
                <a:gd name="T108" fmla="*/ 38 w 499"/>
                <a:gd name="T109" fmla="*/ 83 h 531"/>
                <a:gd name="T110" fmla="*/ 60 w 499"/>
                <a:gd name="T111" fmla="*/ 78 h 531"/>
                <a:gd name="T112" fmla="*/ 124 w 499"/>
                <a:gd name="T113" fmla="*/ 61 h 531"/>
                <a:gd name="T114" fmla="*/ 225 w 499"/>
                <a:gd name="T115" fmla="*/ 0 h 531"/>
                <a:gd name="T116" fmla="*/ 301 w 499"/>
                <a:gd name="T117" fmla="*/ 16 h 531"/>
                <a:gd name="T118" fmla="*/ 325 w 499"/>
                <a:gd name="T119" fmla="*/ 32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99" h="531">
                  <a:moveTo>
                    <a:pt x="325" y="32"/>
                  </a:moveTo>
                  <a:lnTo>
                    <a:pt x="365" y="70"/>
                  </a:lnTo>
                  <a:lnTo>
                    <a:pt x="378" y="65"/>
                  </a:lnTo>
                  <a:lnTo>
                    <a:pt x="387" y="67"/>
                  </a:lnTo>
                  <a:lnTo>
                    <a:pt x="411" y="83"/>
                  </a:lnTo>
                  <a:lnTo>
                    <a:pt x="419" y="97"/>
                  </a:lnTo>
                  <a:lnTo>
                    <a:pt x="499" y="123"/>
                  </a:lnTo>
                  <a:lnTo>
                    <a:pt x="494" y="145"/>
                  </a:lnTo>
                  <a:lnTo>
                    <a:pt x="477" y="163"/>
                  </a:lnTo>
                  <a:lnTo>
                    <a:pt x="440" y="166"/>
                  </a:lnTo>
                  <a:lnTo>
                    <a:pt x="435" y="164"/>
                  </a:lnTo>
                  <a:lnTo>
                    <a:pt x="429" y="158"/>
                  </a:lnTo>
                  <a:lnTo>
                    <a:pt x="421" y="155"/>
                  </a:lnTo>
                  <a:lnTo>
                    <a:pt x="416" y="148"/>
                  </a:lnTo>
                  <a:lnTo>
                    <a:pt x="403" y="145"/>
                  </a:lnTo>
                  <a:lnTo>
                    <a:pt x="397" y="128"/>
                  </a:lnTo>
                  <a:lnTo>
                    <a:pt x="363" y="121"/>
                  </a:lnTo>
                  <a:lnTo>
                    <a:pt x="311" y="120"/>
                  </a:lnTo>
                  <a:lnTo>
                    <a:pt x="308" y="129"/>
                  </a:lnTo>
                  <a:lnTo>
                    <a:pt x="304" y="176"/>
                  </a:lnTo>
                  <a:lnTo>
                    <a:pt x="308" y="177"/>
                  </a:lnTo>
                  <a:lnTo>
                    <a:pt x="315" y="174"/>
                  </a:lnTo>
                  <a:lnTo>
                    <a:pt x="330" y="176"/>
                  </a:lnTo>
                  <a:lnTo>
                    <a:pt x="333" y="179"/>
                  </a:lnTo>
                  <a:lnTo>
                    <a:pt x="333" y="184"/>
                  </a:lnTo>
                  <a:lnTo>
                    <a:pt x="317" y="190"/>
                  </a:lnTo>
                  <a:lnTo>
                    <a:pt x="300" y="227"/>
                  </a:lnTo>
                  <a:lnTo>
                    <a:pt x="287" y="227"/>
                  </a:lnTo>
                  <a:lnTo>
                    <a:pt x="256" y="233"/>
                  </a:lnTo>
                  <a:lnTo>
                    <a:pt x="239" y="243"/>
                  </a:lnTo>
                  <a:lnTo>
                    <a:pt x="234" y="265"/>
                  </a:lnTo>
                  <a:lnTo>
                    <a:pt x="221" y="276"/>
                  </a:lnTo>
                  <a:lnTo>
                    <a:pt x="220" y="281"/>
                  </a:lnTo>
                  <a:lnTo>
                    <a:pt x="229" y="326"/>
                  </a:lnTo>
                  <a:lnTo>
                    <a:pt x="226" y="334"/>
                  </a:lnTo>
                  <a:lnTo>
                    <a:pt x="236" y="353"/>
                  </a:lnTo>
                  <a:lnTo>
                    <a:pt x="233" y="362"/>
                  </a:lnTo>
                  <a:lnTo>
                    <a:pt x="236" y="380"/>
                  </a:lnTo>
                  <a:lnTo>
                    <a:pt x="237" y="381"/>
                  </a:lnTo>
                  <a:lnTo>
                    <a:pt x="239" y="391"/>
                  </a:lnTo>
                  <a:lnTo>
                    <a:pt x="244" y="396"/>
                  </a:lnTo>
                  <a:lnTo>
                    <a:pt x="242" y="402"/>
                  </a:lnTo>
                  <a:lnTo>
                    <a:pt x="245" y="407"/>
                  </a:lnTo>
                  <a:lnTo>
                    <a:pt x="237" y="405"/>
                  </a:lnTo>
                  <a:lnTo>
                    <a:pt x="231" y="412"/>
                  </a:lnTo>
                  <a:lnTo>
                    <a:pt x="228" y="410"/>
                  </a:lnTo>
                  <a:lnTo>
                    <a:pt x="220" y="413"/>
                  </a:lnTo>
                  <a:lnTo>
                    <a:pt x="213" y="412"/>
                  </a:lnTo>
                  <a:lnTo>
                    <a:pt x="199" y="420"/>
                  </a:lnTo>
                  <a:lnTo>
                    <a:pt x="205" y="429"/>
                  </a:lnTo>
                  <a:lnTo>
                    <a:pt x="204" y="445"/>
                  </a:lnTo>
                  <a:lnTo>
                    <a:pt x="205" y="450"/>
                  </a:lnTo>
                  <a:lnTo>
                    <a:pt x="217" y="466"/>
                  </a:lnTo>
                  <a:lnTo>
                    <a:pt x="221" y="468"/>
                  </a:lnTo>
                  <a:lnTo>
                    <a:pt x="220" y="474"/>
                  </a:lnTo>
                  <a:lnTo>
                    <a:pt x="213" y="479"/>
                  </a:lnTo>
                  <a:lnTo>
                    <a:pt x="207" y="480"/>
                  </a:lnTo>
                  <a:lnTo>
                    <a:pt x="202" y="485"/>
                  </a:lnTo>
                  <a:lnTo>
                    <a:pt x="189" y="488"/>
                  </a:lnTo>
                  <a:lnTo>
                    <a:pt x="178" y="495"/>
                  </a:lnTo>
                  <a:lnTo>
                    <a:pt x="162" y="487"/>
                  </a:lnTo>
                  <a:lnTo>
                    <a:pt x="151" y="479"/>
                  </a:lnTo>
                  <a:lnTo>
                    <a:pt x="140" y="475"/>
                  </a:lnTo>
                  <a:lnTo>
                    <a:pt x="126" y="475"/>
                  </a:lnTo>
                  <a:lnTo>
                    <a:pt x="119" y="485"/>
                  </a:lnTo>
                  <a:lnTo>
                    <a:pt x="121" y="493"/>
                  </a:lnTo>
                  <a:lnTo>
                    <a:pt x="118" y="501"/>
                  </a:lnTo>
                  <a:lnTo>
                    <a:pt x="89" y="493"/>
                  </a:lnTo>
                  <a:lnTo>
                    <a:pt x="79" y="499"/>
                  </a:lnTo>
                  <a:lnTo>
                    <a:pt x="78" y="512"/>
                  </a:lnTo>
                  <a:lnTo>
                    <a:pt x="81" y="522"/>
                  </a:lnTo>
                  <a:lnTo>
                    <a:pt x="76" y="530"/>
                  </a:lnTo>
                  <a:lnTo>
                    <a:pt x="71" y="531"/>
                  </a:lnTo>
                  <a:lnTo>
                    <a:pt x="55" y="525"/>
                  </a:lnTo>
                  <a:lnTo>
                    <a:pt x="47" y="514"/>
                  </a:lnTo>
                  <a:lnTo>
                    <a:pt x="33" y="509"/>
                  </a:lnTo>
                  <a:lnTo>
                    <a:pt x="25" y="503"/>
                  </a:lnTo>
                  <a:lnTo>
                    <a:pt x="35" y="488"/>
                  </a:lnTo>
                  <a:lnTo>
                    <a:pt x="20" y="482"/>
                  </a:lnTo>
                  <a:lnTo>
                    <a:pt x="8" y="466"/>
                  </a:lnTo>
                  <a:lnTo>
                    <a:pt x="6" y="463"/>
                  </a:lnTo>
                  <a:lnTo>
                    <a:pt x="12" y="455"/>
                  </a:lnTo>
                  <a:lnTo>
                    <a:pt x="14" y="447"/>
                  </a:lnTo>
                  <a:lnTo>
                    <a:pt x="4" y="434"/>
                  </a:lnTo>
                  <a:lnTo>
                    <a:pt x="0" y="418"/>
                  </a:lnTo>
                  <a:lnTo>
                    <a:pt x="6" y="397"/>
                  </a:lnTo>
                  <a:lnTo>
                    <a:pt x="6" y="381"/>
                  </a:lnTo>
                  <a:lnTo>
                    <a:pt x="9" y="373"/>
                  </a:lnTo>
                  <a:lnTo>
                    <a:pt x="12" y="372"/>
                  </a:lnTo>
                  <a:lnTo>
                    <a:pt x="14" y="375"/>
                  </a:lnTo>
                  <a:lnTo>
                    <a:pt x="22" y="370"/>
                  </a:lnTo>
                  <a:lnTo>
                    <a:pt x="38" y="367"/>
                  </a:lnTo>
                  <a:lnTo>
                    <a:pt x="55" y="353"/>
                  </a:lnTo>
                  <a:lnTo>
                    <a:pt x="68" y="337"/>
                  </a:lnTo>
                  <a:lnTo>
                    <a:pt x="68" y="329"/>
                  </a:lnTo>
                  <a:lnTo>
                    <a:pt x="70" y="327"/>
                  </a:lnTo>
                  <a:lnTo>
                    <a:pt x="70" y="322"/>
                  </a:lnTo>
                  <a:lnTo>
                    <a:pt x="73" y="319"/>
                  </a:lnTo>
                  <a:lnTo>
                    <a:pt x="70" y="314"/>
                  </a:lnTo>
                  <a:lnTo>
                    <a:pt x="67" y="302"/>
                  </a:lnTo>
                  <a:lnTo>
                    <a:pt x="71" y="271"/>
                  </a:lnTo>
                  <a:lnTo>
                    <a:pt x="57" y="260"/>
                  </a:lnTo>
                  <a:lnTo>
                    <a:pt x="46" y="239"/>
                  </a:lnTo>
                  <a:lnTo>
                    <a:pt x="41" y="174"/>
                  </a:lnTo>
                  <a:lnTo>
                    <a:pt x="43" y="155"/>
                  </a:lnTo>
                  <a:lnTo>
                    <a:pt x="39" y="131"/>
                  </a:lnTo>
                  <a:lnTo>
                    <a:pt x="38" y="115"/>
                  </a:lnTo>
                  <a:lnTo>
                    <a:pt x="43" y="101"/>
                  </a:lnTo>
                  <a:lnTo>
                    <a:pt x="39" y="96"/>
                  </a:lnTo>
                  <a:lnTo>
                    <a:pt x="38" y="83"/>
                  </a:lnTo>
                  <a:lnTo>
                    <a:pt x="47" y="83"/>
                  </a:lnTo>
                  <a:lnTo>
                    <a:pt x="60" y="78"/>
                  </a:lnTo>
                  <a:lnTo>
                    <a:pt x="84" y="53"/>
                  </a:lnTo>
                  <a:lnTo>
                    <a:pt x="124" y="61"/>
                  </a:lnTo>
                  <a:lnTo>
                    <a:pt x="135" y="56"/>
                  </a:lnTo>
                  <a:lnTo>
                    <a:pt x="225" y="0"/>
                  </a:lnTo>
                  <a:lnTo>
                    <a:pt x="288" y="10"/>
                  </a:lnTo>
                  <a:lnTo>
                    <a:pt x="301" y="16"/>
                  </a:lnTo>
                  <a:lnTo>
                    <a:pt x="312" y="27"/>
                  </a:lnTo>
                  <a:lnTo>
                    <a:pt x="325" y="3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/>
            <a:lstStyle/>
            <a:p>
              <a:pPr algn="ctr"/>
              <a:endParaRPr lang="en-US" sz="800" dirty="0"/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45D0B231-B979-4ECE-B5C2-06AAF91406FE}"/>
                </a:ext>
              </a:extLst>
            </p:cNvPr>
            <p:cNvGrpSpPr/>
            <p:nvPr/>
          </p:nvGrpSpPr>
          <p:grpSpPr>
            <a:xfrm>
              <a:off x="6054725" y="5646738"/>
              <a:ext cx="412750" cy="496887"/>
              <a:chOff x="6054725" y="5646738"/>
              <a:chExt cx="412750" cy="496887"/>
            </a:xfrm>
            <a:grpFill/>
          </p:grpSpPr>
          <p:sp>
            <p:nvSpPr>
              <p:cNvPr id="47" name="Freeform 228">
                <a:extLst>
                  <a:ext uri="{FF2B5EF4-FFF2-40B4-BE49-F238E27FC236}">
                    <a16:creationId xmlns:a16="http://schemas.microsoft.com/office/drawing/2014/main" id="{DDD5B5B2-CF2B-4221-9E34-433EA93533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54725" y="5646738"/>
                <a:ext cx="315912" cy="496887"/>
              </a:xfrm>
              <a:custGeom>
                <a:avLst/>
                <a:gdLst>
                  <a:gd name="T0" fmla="*/ 139 w 199"/>
                  <a:gd name="T1" fmla="*/ 142 h 313"/>
                  <a:gd name="T2" fmla="*/ 121 w 199"/>
                  <a:gd name="T3" fmla="*/ 140 h 313"/>
                  <a:gd name="T4" fmla="*/ 127 w 199"/>
                  <a:gd name="T5" fmla="*/ 116 h 313"/>
                  <a:gd name="T6" fmla="*/ 137 w 199"/>
                  <a:gd name="T7" fmla="*/ 115 h 313"/>
                  <a:gd name="T8" fmla="*/ 143 w 199"/>
                  <a:gd name="T9" fmla="*/ 113 h 313"/>
                  <a:gd name="T10" fmla="*/ 147 w 199"/>
                  <a:gd name="T11" fmla="*/ 109 h 313"/>
                  <a:gd name="T12" fmla="*/ 145 w 199"/>
                  <a:gd name="T13" fmla="*/ 107 h 313"/>
                  <a:gd name="T14" fmla="*/ 121 w 199"/>
                  <a:gd name="T15" fmla="*/ 120 h 313"/>
                  <a:gd name="T16" fmla="*/ 121 w 199"/>
                  <a:gd name="T17" fmla="*/ 142 h 313"/>
                  <a:gd name="T18" fmla="*/ 137 w 199"/>
                  <a:gd name="T19" fmla="*/ 153 h 313"/>
                  <a:gd name="T20" fmla="*/ 156 w 199"/>
                  <a:gd name="T21" fmla="*/ 201 h 313"/>
                  <a:gd name="T22" fmla="*/ 153 w 199"/>
                  <a:gd name="T23" fmla="*/ 198 h 313"/>
                  <a:gd name="T24" fmla="*/ 147 w 199"/>
                  <a:gd name="T25" fmla="*/ 196 h 313"/>
                  <a:gd name="T26" fmla="*/ 153 w 199"/>
                  <a:gd name="T27" fmla="*/ 204 h 313"/>
                  <a:gd name="T28" fmla="*/ 183 w 199"/>
                  <a:gd name="T29" fmla="*/ 233 h 313"/>
                  <a:gd name="T30" fmla="*/ 199 w 199"/>
                  <a:gd name="T31" fmla="*/ 258 h 313"/>
                  <a:gd name="T32" fmla="*/ 183 w 199"/>
                  <a:gd name="T33" fmla="*/ 263 h 313"/>
                  <a:gd name="T34" fmla="*/ 175 w 199"/>
                  <a:gd name="T35" fmla="*/ 263 h 313"/>
                  <a:gd name="T36" fmla="*/ 170 w 199"/>
                  <a:gd name="T37" fmla="*/ 266 h 313"/>
                  <a:gd name="T38" fmla="*/ 175 w 199"/>
                  <a:gd name="T39" fmla="*/ 268 h 313"/>
                  <a:gd name="T40" fmla="*/ 193 w 199"/>
                  <a:gd name="T41" fmla="*/ 263 h 313"/>
                  <a:gd name="T42" fmla="*/ 186 w 199"/>
                  <a:gd name="T43" fmla="*/ 284 h 313"/>
                  <a:gd name="T44" fmla="*/ 180 w 199"/>
                  <a:gd name="T45" fmla="*/ 281 h 313"/>
                  <a:gd name="T46" fmla="*/ 185 w 199"/>
                  <a:gd name="T47" fmla="*/ 289 h 313"/>
                  <a:gd name="T48" fmla="*/ 188 w 199"/>
                  <a:gd name="T49" fmla="*/ 292 h 313"/>
                  <a:gd name="T50" fmla="*/ 123 w 199"/>
                  <a:gd name="T51" fmla="*/ 297 h 313"/>
                  <a:gd name="T52" fmla="*/ 111 w 199"/>
                  <a:gd name="T53" fmla="*/ 289 h 313"/>
                  <a:gd name="T54" fmla="*/ 97 w 199"/>
                  <a:gd name="T55" fmla="*/ 282 h 313"/>
                  <a:gd name="T56" fmla="*/ 102 w 199"/>
                  <a:gd name="T57" fmla="*/ 278 h 313"/>
                  <a:gd name="T58" fmla="*/ 94 w 199"/>
                  <a:gd name="T59" fmla="*/ 270 h 313"/>
                  <a:gd name="T60" fmla="*/ 99 w 199"/>
                  <a:gd name="T61" fmla="*/ 263 h 313"/>
                  <a:gd name="T62" fmla="*/ 102 w 199"/>
                  <a:gd name="T63" fmla="*/ 273 h 313"/>
                  <a:gd name="T64" fmla="*/ 102 w 199"/>
                  <a:gd name="T65" fmla="*/ 284 h 313"/>
                  <a:gd name="T66" fmla="*/ 107 w 199"/>
                  <a:gd name="T67" fmla="*/ 286 h 313"/>
                  <a:gd name="T68" fmla="*/ 118 w 199"/>
                  <a:gd name="T69" fmla="*/ 292 h 313"/>
                  <a:gd name="T70" fmla="*/ 59 w 199"/>
                  <a:gd name="T71" fmla="*/ 302 h 313"/>
                  <a:gd name="T72" fmla="*/ 48 w 199"/>
                  <a:gd name="T73" fmla="*/ 302 h 313"/>
                  <a:gd name="T74" fmla="*/ 40 w 199"/>
                  <a:gd name="T75" fmla="*/ 298 h 313"/>
                  <a:gd name="T76" fmla="*/ 41 w 199"/>
                  <a:gd name="T77" fmla="*/ 303 h 313"/>
                  <a:gd name="T78" fmla="*/ 43 w 199"/>
                  <a:gd name="T79" fmla="*/ 305 h 313"/>
                  <a:gd name="T80" fmla="*/ 32 w 199"/>
                  <a:gd name="T81" fmla="*/ 313 h 313"/>
                  <a:gd name="T82" fmla="*/ 30 w 199"/>
                  <a:gd name="T83" fmla="*/ 302 h 313"/>
                  <a:gd name="T84" fmla="*/ 19 w 199"/>
                  <a:gd name="T85" fmla="*/ 295 h 313"/>
                  <a:gd name="T86" fmla="*/ 35 w 199"/>
                  <a:gd name="T87" fmla="*/ 290 h 313"/>
                  <a:gd name="T88" fmla="*/ 28 w 199"/>
                  <a:gd name="T89" fmla="*/ 289 h 313"/>
                  <a:gd name="T90" fmla="*/ 25 w 199"/>
                  <a:gd name="T91" fmla="*/ 294 h 313"/>
                  <a:gd name="T92" fmla="*/ 19 w 199"/>
                  <a:gd name="T93" fmla="*/ 284 h 313"/>
                  <a:gd name="T94" fmla="*/ 11 w 199"/>
                  <a:gd name="T95" fmla="*/ 263 h 313"/>
                  <a:gd name="T96" fmla="*/ 11 w 199"/>
                  <a:gd name="T97" fmla="*/ 238 h 313"/>
                  <a:gd name="T98" fmla="*/ 6 w 199"/>
                  <a:gd name="T99" fmla="*/ 222 h 313"/>
                  <a:gd name="T100" fmla="*/ 3 w 199"/>
                  <a:gd name="T101" fmla="*/ 199 h 313"/>
                  <a:gd name="T102" fmla="*/ 14 w 199"/>
                  <a:gd name="T103" fmla="*/ 155 h 313"/>
                  <a:gd name="T104" fmla="*/ 43 w 199"/>
                  <a:gd name="T105" fmla="*/ 113 h 313"/>
                  <a:gd name="T106" fmla="*/ 35 w 199"/>
                  <a:gd name="T107" fmla="*/ 73 h 313"/>
                  <a:gd name="T108" fmla="*/ 59 w 199"/>
                  <a:gd name="T109" fmla="*/ 62 h 313"/>
                  <a:gd name="T110" fmla="*/ 113 w 199"/>
                  <a:gd name="T111" fmla="*/ 97 h 313"/>
                  <a:gd name="T112" fmla="*/ 126 w 199"/>
                  <a:gd name="T113" fmla="*/ 80 h 313"/>
                  <a:gd name="T114" fmla="*/ 105 w 199"/>
                  <a:gd name="T115" fmla="*/ 53 h 313"/>
                  <a:gd name="T116" fmla="*/ 110 w 199"/>
                  <a:gd name="T117" fmla="*/ 16 h 313"/>
                  <a:gd name="T118" fmla="*/ 115 w 199"/>
                  <a:gd name="T119" fmla="*/ 0 h 313"/>
                  <a:gd name="T120" fmla="*/ 155 w 199"/>
                  <a:gd name="T121" fmla="*/ 21 h 313"/>
                  <a:gd name="T122" fmla="*/ 163 w 199"/>
                  <a:gd name="T123" fmla="*/ 37 h 313"/>
                  <a:gd name="T124" fmla="*/ 167 w 199"/>
                  <a:gd name="T125" fmla="*/ 45 h 3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99" h="313">
                    <a:moveTo>
                      <a:pt x="142" y="158"/>
                    </a:moveTo>
                    <a:lnTo>
                      <a:pt x="140" y="155"/>
                    </a:lnTo>
                    <a:lnTo>
                      <a:pt x="139" y="142"/>
                    </a:lnTo>
                    <a:lnTo>
                      <a:pt x="131" y="131"/>
                    </a:lnTo>
                    <a:lnTo>
                      <a:pt x="127" y="131"/>
                    </a:lnTo>
                    <a:lnTo>
                      <a:pt x="121" y="140"/>
                    </a:lnTo>
                    <a:lnTo>
                      <a:pt x="116" y="136"/>
                    </a:lnTo>
                    <a:lnTo>
                      <a:pt x="119" y="126"/>
                    </a:lnTo>
                    <a:lnTo>
                      <a:pt x="127" y="116"/>
                    </a:lnTo>
                    <a:lnTo>
                      <a:pt x="135" y="115"/>
                    </a:lnTo>
                    <a:lnTo>
                      <a:pt x="142" y="120"/>
                    </a:lnTo>
                    <a:lnTo>
                      <a:pt x="137" y="115"/>
                    </a:lnTo>
                    <a:lnTo>
                      <a:pt x="132" y="116"/>
                    </a:lnTo>
                    <a:lnTo>
                      <a:pt x="137" y="112"/>
                    </a:lnTo>
                    <a:lnTo>
                      <a:pt x="143" y="113"/>
                    </a:lnTo>
                    <a:lnTo>
                      <a:pt x="143" y="118"/>
                    </a:lnTo>
                    <a:lnTo>
                      <a:pt x="143" y="115"/>
                    </a:lnTo>
                    <a:lnTo>
                      <a:pt x="147" y="109"/>
                    </a:lnTo>
                    <a:lnTo>
                      <a:pt x="145" y="102"/>
                    </a:lnTo>
                    <a:lnTo>
                      <a:pt x="143" y="101"/>
                    </a:lnTo>
                    <a:lnTo>
                      <a:pt x="145" y="107"/>
                    </a:lnTo>
                    <a:lnTo>
                      <a:pt x="143" y="112"/>
                    </a:lnTo>
                    <a:lnTo>
                      <a:pt x="135" y="112"/>
                    </a:lnTo>
                    <a:lnTo>
                      <a:pt x="121" y="120"/>
                    </a:lnTo>
                    <a:lnTo>
                      <a:pt x="116" y="129"/>
                    </a:lnTo>
                    <a:lnTo>
                      <a:pt x="116" y="137"/>
                    </a:lnTo>
                    <a:lnTo>
                      <a:pt x="121" y="142"/>
                    </a:lnTo>
                    <a:lnTo>
                      <a:pt x="127" y="137"/>
                    </a:lnTo>
                    <a:lnTo>
                      <a:pt x="137" y="140"/>
                    </a:lnTo>
                    <a:lnTo>
                      <a:pt x="137" y="153"/>
                    </a:lnTo>
                    <a:lnTo>
                      <a:pt x="147" y="164"/>
                    </a:lnTo>
                    <a:lnTo>
                      <a:pt x="147" y="183"/>
                    </a:lnTo>
                    <a:lnTo>
                      <a:pt x="156" y="201"/>
                    </a:lnTo>
                    <a:lnTo>
                      <a:pt x="153" y="204"/>
                    </a:lnTo>
                    <a:lnTo>
                      <a:pt x="151" y="203"/>
                    </a:lnTo>
                    <a:lnTo>
                      <a:pt x="153" y="198"/>
                    </a:lnTo>
                    <a:lnTo>
                      <a:pt x="148" y="196"/>
                    </a:lnTo>
                    <a:lnTo>
                      <a:pt x="147" y="191"/>
                    </a:lnTo>
                    <a:lnTo>
                      <a:pt x="147" y="196"/>
                    </a:lnTo>
                    <a:lnTo>
                      <a:pt x="151" y="198"/>
                    </a:lnTo>
                    <a:lnTo>
                      <a:pt x="150" y="203"/>
                    </a:lnTo>
                    <a:lnTo>
                      <a:pt x="153" y="204"/>
                    </a:lnTo>
                    <a:lnTo>
                      <a:pt x="156" y="203"/>
                    </a:lnTo>
                    <a:lnTo>
                      <a:pt x="175" y="228"/>
                    </a:lnTo>
                    <a:lnTo>
                      <a:pt x="183" y="233"/>
                    </a:lnTo>
                    <a:lnTo>
                      <a:pt x="198" y="247"/>
                    </a:lnTo>
                    <a:lnTo>
                      <a:pt x="196" y="255"/>
                    </a:lnTo>
                    <a:lnTo>
                      <a:pt x="199" y="258"/>
                    </a:lnTo>
                    <a:lnTo>
                      <a:pt x="198" y="268"/>
                    </a:lnTo>
                    <a:lnTo>
                      <a:pt x="190" y="262"/>
                    </a:lnTo>
                    <a:lnTo>
                      <a:pt x="183" y="263"/>
                    </a:lnTo>
                    <a:lnTo>
                      <a:pt x="178" y="268"/>
                    </a:lnTo>
                    <a:lnTo>
                      <a:pt x="175" y="266"/>
                    </a:lnTo>
                    <a:lnTo>
                      <a:pt x="175" y="263"/>
                    </a:lnTo>
                    <a:lnTo>
                      <a:pt x="175" y="265"/>
                    </a:lnTo>
                    <a:lnTo>
                      <a:pt x="174" y="263"/>
                    </a:lnTo>
                    <a:lnTo>
                      <a:pt x="170" y="266"/>
                    </a:lnTo>
                    <a:lnTo>
                      <a:pt x="177" y="268"/>
                    </a:lnTo>
                    <a:lnTo>
                      <a:pt x="175" y="273"/>
                    </a:lnTo>
                    <a:lnTo>
                      <a:pt x="175" y="268"/>
                    </a:lnTo>
                    <a:lnTo>
                      <a:pt x="180" y="268"/>
                    </a:lnTo>
                    <a:lnTo>
                      <a:pt x="183" y="263"/>
                    </a:lnTo>
                    <a:lnTo>
                      <a:pt x="193" y="263"/>
                    </a:lnTo>
                    <a:lnTo>
                      <a:pt x="199" y="273"/>
                    </a:lnTo>
                    <a:lnTo>
                      <a:pt x="191" y="289"/>
                    </a:lnTo>
                    <a:lnTo>
                      <a:pt x="186" y="284"/>
                    </a:lnTo>
                    <a:lnTo>
                      <a:pt x="185" y="286"/>
                    </a:lnTo>
                    <a:lnTo>
                      <a:pt x="185" y="282"/>
                    </a:lnTo>
                    <a:lnTo>
                      <a:pt x="180" y="281"/>
                    </a:lnTo>
                    <a:lnTo>
                      <a:pt x="186" y="284"/>
                    </a:lnTo>
                    <a:lnTo>
                      <a:pt x="188" y="287"/>
                    </a:lnTo>
                    <a:lnTo>
                      <a:pt x="185" y="289"/>
                    </a:lnTo>
                    <a:lnTo>
                      <a:pt x="188" y="287"/>
                    </a:lnTo>
                    <a:lnTo>
                      <a:pt x="191" y="289"/>
                    </a:lnTo>
                    <a:lnTo>
                      <a:pt x="188" y="292"/>
                    </a:lnTo>
                    <a:lnTo>
                      <a:pt x="190" y="297"/>
                    </a:lnTo>
                    <a:lnTo>
                      <a:pt x="161" y="295"/>
                    </a:lnTo>
                    <a:lnTo>
                      <a:pt x="123" y="297"/>
                    </a:lnTo>
                    <a:lnTo>
                      <a:pt x="118" y="290"/>
                    </a:lnTo>
                    <a:lnTo>
                      <a:pt x="110" y="294"/>
                    </a:lnTo>
                    <a:lnTo>
                      <a:pt x="111" y="289"/>
                    </a:lnTo>
                    <a:lnTo>
                      <a:pt x="108" y="286"/>
                    </a:lnTo>
                    <a:lnTo>
                      <a:pt x="99" y="286"/>
                    </a:lnTo>
                    <a:lnTo>
                      <a:pt x="97" y="282"/>
                    </a:lnTo>
                    <a:lnTo>
                      <a:pt x="102" y="284"/>
                    </a:lnTo>
                    <a:lnTo>
                      <a:pt x="105" y="282"/>
                    </a:lnTo>
                    <a:lnTo>
                      <a:pt x="102" y="278"/>
                    </a:lnTo>
                    <a:lnTo>
                      <a:pt x="102" y="273"/>
                    </a:lnTo>
                    <a:lnTo>
                      <a:pt x="99" y="273"/>
                    </a:lnTo>
                    <a:lnTo>
                      <a:pt x="94" y="270"/>
                    </a:lnTo>
                    <a:lnTo>
                      <a:pt x="99" y="263"/>
                    </a:lnTo>
                    <a:lnTo>
                      <a:pt x="97" y="260"/>
                    </a:lnTo>
                    <a:lnTo>
                      <a:pt x="99" y="263"/>
                    </a:lnTo>
                    <a:lnTo>
                      <a:pt x="94" y="270"/>
                    </a:lnTo>
                    <a:lnTo>
                      <a:pt x="99" y="273"/>
                    </a:lnTo>
                    <a:lnTo>
                      <a:pt x="102" y="273"/>
                    </a:lnTo>
                    <a:lnTo>
                      <a:pt x="100" y="278"/>
                    </a:lnTo>
                    <a:lnTo>
                      <a:pt x="105" y="282"/>
                    </a:lnTo>
                    <a:lnTo>
                      <a:pt x="102" y="284"/>
                    </a:lnTo>
                    <a:lnTo>
                      <a:pt x="97" y="282"/>
                    </a:lnTo>
                    <a:lnTo>
                      <a:pt x="97" y="287"/>
                    </a:lnTo>
                    <a:lnTo>
                      <a:pt x="107" y="286"/>
                    </a:lnTo>
                    <a:lnTo>
                      <a:pt x="110" y="287"/>
                    </a:lnTo>
                    <a:lnTo>
                      <a:pt x="110" y="294"/>
                    </a:lnTo>
                    <a:lnTo>
                      <a:pt x="118" y="292"/>
                    </a:lnTo>
                    <a:lnTo>
                      <a:pt x="119" y="297"/>
                    </a:lnTo>
                    <a:lnTo>
                      <a:pt x="60" y="303"/>
                    </a:lnTo>
                    <a:lnTo>
                      <a:pt x="59" y="302"/>
                    </a:lnTo>
                    <a:lnTo>
                      <a:pt x="60" y="300"/>
                    </a:lnTo>
                    <a:lnTo>
                      <a:pt x="51" y="303"/>
                    </a:lnTo>
                    <a:lnTo>
                      <a:pt x="48" y="302"/>
                    </a:lnTo>
                    <a:lnTo>
                      <a:pt x="54" y="297"/>
                    </a:lnTo>
                    <a:lnTo>
                      <a:pt x="43" y="303"/>
                    </a:lnTo>
                    <a:lnTo>
                      <a:pt x="40" y="298"/>
                    </a:lnTo>
                    <a:lnTo>
                      <a:pt x="49" y="294"/>
                    </a:lnTo>
                    <a:lnTo>
                      <a:pt x="40" y="298"/>
                    </a:lnTo>
                    <a:lnTo>
                      <a:pt x="41" y="303"/>
                    </a:lnTo>
                    <a:lnTo>
                      <a:pt x="38" y="303"/>
                    </a:lnTo>
                    <a:lnTo>
                      <a:pt x="41" y="303"/>
                    </a:lnTo>
                    <a:lnTo>
                      <a:pt x="43" y="305"/>
                    </a:lnTo>
                    <a:lnTo>
                      <a:pt x="40" y="306"/>
                    </a:lnTo>
                    <a:lnTo>
                      <a:pt x="44" y="308"/>
                    </a:lnTo>
                    <a:lnTo>
                      <a:pt x="32" y="313"/>
                    </a:lnTo>
                    <a:lnTo>
                      <a:pt x="28" y="306"/>
                    </a:lnTo>
                    <a:lnTo>
                      <a:pt x="24" y="303"/>
                    </a:lnTo>
                    <a:lnTo>
                      <a:pt x="30" y="302"/>
                    </a:lnTo>
                    <a:lnTo>
                      <a:pt x="20" y="303"/>
                    </a:lnTo>
                    <a:lnTo>
                      <a:pt x="17" y="298"/>
                    </a:lnTo>
                    <a:lnTo>
                      <a:pt x="19" y="295"/>
                    </a:lnTo>
                    <a:lnTo>
                      <a:pt x="25" y="295"/>
                    </a:lnTo>
                    <a:lnTo>
                      <a:pt x="27" y="297"/>
                    </a:lnTo>
                    <a:lnTo>
                      <a:pt x="35" y="290"/>
                    </a:lnTo>
                    <a:lnTo>
                      <a:pt x="32" y="292"/>
                    </a:lnTo>
                    <a:lnTo>
                      <a:pt x="32" y="289"/>
                    </a:lnTo>
                    <a:lnTo>
                      <a:pt x="28" y="289"/>
                    </a:lnTo>
                    <a:lnTo>
                      <a:pt x="32" y="292"/>
                    </a:lnTo>
                    <a:lnTo>
                      <a:pt x="27" y="297"/>
                    </a:lnTo>
                    <a:lnTo>
                      <a:pt x="25" y="294"/>
                    </a:lnTo>
                    <a:lnTo>
                      <a:pt x="16" y="297"/>
                    </a:lnTo>
                    <a:lnTo>
                      <a:pt x="13" y="295"/>
                    </a:lnTo>
                    <a:lnTo>
                      <a:pt x="19" y="284"/>
                    </a:lnTo>
                    <a:lnTo>
                      <a:pt x="14" y="282"/>
                    </a:lnTo>
                    <a:lnTo>
                      <a:pt x="11" y="274"/>
                    </a:lnTo>
                    <a:lnTo>
                      <a:pt x="11" y="263"/>
                    </a:lnTo>
                    <a:lnTo>
                      <a:pt x="17" y="252"/>
                    </a:lnTo>
                    <a:lnTo>
                      <a:pt x="13" y="247"/>
                    </a:lnTo>
                    <a:lnTo>
                      <a:pt x="11" y="238"/>
                    </a:lnTo>
                    <a:lnTo>
                      <a:pt x="5" y="231"/>
                    </a:lnTo>
                    <a:lnTo>
                      <a:pt x="6" y="228"/>
                    </a:lnTo>
                    <a:lnTo>
                      <a:pt x="6" y="222"/>
                    </a:lnTo>
                    <a:lnTo>
                      <a:pt x="3" y="220"/>
                    </a:lnTo>
                    <a:lnTo>
                      <a:pt x="0" y="211"/>
                    </a:lnTo>
                    <a:lnTo>
                      <a:pt x="3" y="199"/>
                    </a:lnTo>
                    <a:lnTo>
                      <a:pt x="11" y="190"/>
                    </a:lnTo>
                    <a:lnTo>
                      <a:pt x="14" y="180"/>
                    </a:lnTo>
                    <a:lnTo>
                      <a:pt x="14" y="155"/>
                    </a:lnTo>
                    <a:lnTo>
                      <a:pt x="5" y="123"/>
                    </a:lnTo>
                    <a:lnTo>
                      <a:pt x="6" y="121"/>
                    </a:lnTo>
                    <a:lnTo>
                      <a:pt x="43" y="113"/>
                    </a:lnTo>
                    <a:lnTo>
                      <a:pt x="51" y="107"/>
                    </a:lnTo>
                    <a:lnTo>
                      <a:pt x="36" y="77"/>
                    </a:lnTo>
                    <a:lnTo>
                      <a:pt x="35" y="73"/>
                    </a:lnTo>
                    <a:lnTo>
                      <a:pt x="41" y="65"/>
                    </a:lnTo>
                    <a:lnTo>
                      <a:pt x="49" y="59"/>
                    </a:lnTo>
                    <a:lnTo>
                      <a:pt x="59" y="62"/>
                    </a:lnTo>
                    <a:lnTo>
                      <a:pt x="100" y="102"/>
                    </a:lnTo>
                    <a:lnTo>
                      <a:pt x="107" y="102"/>
                    </a:lnTo>
                    <a:lnTo>
                      <a:pt x="113" y="97"/>
                    </a:lnTo>
                    <a:lnTo>
                      <a:pt x="131" y="102"/>
                    </a:lnTo>
                    <a:lnTo>
                      <a:pt x="135" y="93"/>
                    </a:lnTo>
                    <a:lnTo>
                      <a:pt x="126" y="80"/>
                    </a:lnTo>
                    <a:lnTo>
                      <a:pt x="129" y="65"/>
                    </a:lnTo>
                    <a:lnTo>
                      <a:pt x="116" y="56"/>
                    </a:lnTo>
                    <a:lnTo>
                      <a:pt x="105" y="53"/>
                    </a:lnTo>
                    <a:lnTo>
                      <a:pt x="105" y="37"/>
                    </a:lnTo>
                    <a:lnTo>
                      <a:pt x="99" y="27"/>
                    </a:lnTo>
                    <a:lnTo>
                      <a:pt x="110" y="16"/>
                    </a:lnTo>
                    <a:lnTo>
                      <a:pt x="115" y="6"/>
                    </a:lnTo>
                    <a:lnTo>
                      <a:pt x="110" y="2"/>
                    </a:lnTo>
                    <a:lnTo>
                      <a:pt x="115" y="0"/>
                    </a:lnTo>
                    <a:lnTo>
                      <a:pt x="131" y="3"/>
                    </a:lnTo>
                    <a:lnTo>
                      <a:pt x="151" y="16"/>
                    </a:lnTo>
                    <a:lnTo>
                      <a:pt x="155" y="21"/>
                    </a:lnTo>
                    <a:lnTo>
                      <a:pt x="158" y="21"/>
                    </a:lnTo>
                    <a:lnTo>
                      <a:pt x="163" y="29"/>
                    </a:lnTo>
                    <a:lnTo>
                      <a:pt x="163" y="37"/>
                    </a:lnTo>
                    <a:lnTo>
                      <a:pt x="164" y="38"/>
                    </a:lnTo>
                    <a:lnTo>
                      <a:pt x="164" y="43"/>
                    </a:lnTo>
                    <a:lnTo>
                      <a:pt x="167" y="45"/>
                    </a:lnTo>
                    <a:lnTo>
                      <a:pt x="170" y="80"/>
                    </a:lnTo>
                    <a:lnTo>
                      <a:pt x="142" y="15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pPr algn="ctr"/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Freeform 229">
                <a:extLst>
                  <a:ext uri="{FF2B5EF4-FFF2-40B4-BE49-F238E27FC236}">
                    <a16:creationId xmlns:a16="http://schemas.microsoft.com/office/drawing/2014/main" id="{ED74604D-52EB-4F9F-99D8-E06B16AB956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89675" y="5905500"/>
                <a:ext cx="177800" cy="115887"/>
              </a:xfrm>
              <a:custGeom>
                <a:avLst/>
                <a:gdLst>
                  <a:gd name="T0" fmla="*/ 109 w 112"/>
                  <a:gd name="T1" fmla="*/ 72 h 73"/>
                  <a:gd name="T2" fmla="*/ 112 w 112"/>
                  <a:gd name="T3" fmla="*/ 72 h 73"/>
                  <a:gd name="T4" fmla="*/ 42 w 112"/>
                  <a:gd name="T5" fmla="*/ 72 h 73"/>
                  <a:gd name="T6" fmla="*/ 46 w 112"/>
                  <a:gd name="T7" fmla="*/ 70 h 73"/>
                  <a:gd name="T8" fmla="*/ 37 w 112"/>
                  <a:gd name="T9" fmla="*/ 67 h 73"/>
                  <a:gd name="T10" fmla="*/ 30 w 112"/>
                  <a:gd name="T11" fmla="*/ 60 h 73"/>
                  <a:gd name="T12" fmla="*/ 37 w 112"/>
                  <a:gd name="T13" fmla="*/ 67 h 73"/>
                  <a:gd name="T14" fmla="*/ 42 w 112"/>
                  <a:gd name="T15" fmla="*/ 60 h 73"/>
                  <a:gd name="T16" fmla="*/ 46 w 112"/>
                  <a:gd name="T17" fmla="*/ 59 h 73"/>
                  <a:gd name="T18" fmla="*/ 67 w 112"/>
                  <a:gd name="T19" fmla="*/ 59 h 73"/>
                  <a:gd name="T20" fmla="*/ 64 w 112"/>
                  <a:gd name="T21" fmla="*/ 57 h 73"/>
                  <a:gd name="T22" fmla="*/ 26 w 112"/>
                  <a:gd name="T23" fmla="*/ 54 h 73"/>
                  <a:gd name="T24" fmla="*/ 24 w 112"/>
                  <a:gd name="T25" fmla="*/ 52 h 73"/>
                  <a:gd name="T26" fmla="*/ 35 w 112"/>
                  <a:gd name="T27" fmla="*/ 52 h 73"/>
                  <a:gd name="T28" fmla="*/ 35 w 112"/>
                  <a:gd name="T29" fmla="*/ 48 h 73"/>
                  <a:gd name="T30" fmla="*/ 26 w 112"/>
                  <a:gd name="T31" fmla="*/ 56 h 73"/>
                  <a:gd name="T32" fmla="*/ 30 w 112"/>
                  <a:gd name="T33" fmla="*/ 65 h 73"/>
                  <a:gd name="T34" fmla="*/ 26 w 112"/>
                  <a:gd name="T35" fmla="*/ 57 h 73"/>
                  <a:gd name="T36" fmla="*/ 13 w 112"/>
                  <a:gd name="T37" fmla="*/ 43 h 73"/>
                  <a:gd name="T38" fmla="*/ 18 w 112"/>
                  <a:gd name="T39" fmla="*/ 44 h 73"/>
                  <a:gd name="T40" fmla="*/ 26 w 112"/>
                  <a:gd name="T41" fmla="*/ 54 h 73"/>
                  <a:gd name="T42" fmla="*/ 18 w 112"/>
                  <a:gd name="T43" fmla="*/ 44 h 73"/>
                  <a:gd name="T44" fmla="*/ 26 w 112"/>
                  <a:gd name="T45" fmla="*/ 40 h 73"/>
                  <a:gd name="T46" fmla="*/ 27 w 112"/>
                  <a:gd name="T47" fmla="*/ 40 h 73"/>
                  <a:gd name="T48" fmla="*/ 19 w 112"/>
                  <a:gd name="T49" fmla="*/ 35 h 73"/>
                  <a:gd name="T50" fmla="*/ 21 w 112"/>
                  <a:gd name="T51" fmla="*/ 36 h 73"/>
                  <a:gd name="T52" fmla="*/ 19 w 112"/>
                  <a:gd name="T53" fmla="*/ 19 h 73"/>
                  <a:gd name="T54" fmla="*/ 26 w 112"/>
                  <a:gd name="T55" fmla="*/ 25 h 73"/>
                  <a:gd name="T56" fmla="*/ 30 w 112"/>
                  <a:gd name="T57" fmla="*/ 35 h 73"/>
                  <a:gd name="T58" fmla="*/ 11 w 112"/>
                  <a:gd name="T59" fmla="*/ 27 h 73"/>
                  <a:gd name="T60" fmla="*/ 11 w 112"/>
                  <a:gd name="T61" fmla="*/ 13 h 73"/>
                  <a:gd name="T62" fmla="*/ 19 w 112"/>
                  <a:gd name="T63" fmla="*/ 33 h 73"/>
                  <a:gd name="T64" fmla="*/ 29 w 112"/>
                  <a:gd name="T65" fmla="*/ 43 h 73"/>
                  <a:gd name="T66" fmla="*/ 30 w 112"/>
                  <a:gd name="T67" fmla="*/ 59 h 73"/>
                  <a:gd name="T68" fmla="*/ 15 w 112"/>
                  <a:gd name="T69" fmla="*/ 41 h 73"/>
                  <a:gd name="T70" fmla="*/ 15 w 112"/>
                  <a:gd name="T71" fmla="*/ 41 h 73"/>
                  <a:gd name="T72" fmla="*/ 0 w 112"/>
                  <a:gd name="T73" fmla="*/ 19 h 73"/>
                  <a:gd name="T74" fmla="*/ 8 w 112"/>
                  <a:gd name="T75" fmla="*/ 17 h 73"/>
                  <a:gd name="T76" fmla="*/ 19 w 112"/>
                  <a:gd name="T77" fmla="*/ 33 h 73"/>
                  <a:gd name="T78" fmla="*/ 3 w 112"/>
                  <a:gd name="T79" fmla="*/ 3 h 73"/>
                  <a:gd name="T80" fmla="*/ 10 w 112"/>
                  <a:gd name="T81" fmla="*/ 16 h 73"/>
                  <a:gd name="T82" fmla="*/ 0 w 112"/>
                  <a:gd name="T83" fmla="*/ 13 h 73"/>
                  <a:gd name="T84" fmla="*/ 2 w 112"/>
                  <a:gd name="T85" fmla="*/ 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12" h="73">
                    <a:moveTo>
                      <a:pt x="112" y="72"/>
                    </a:moveTo>
                    <a:lnTo>
                      <a:pt x="109" y="72"/>
                    </a:lnTo>
                    <a:lnTo>
                      <a:pt x="109" y="68"/>
                    </a:lnTo>
                    <a:lnTo>
                      <a:pt x="112" y="72"/>
                    </a:lnTo>
                    <a:close/>
                    <a:moveTo>
                      <a:pt x="46" y="73"/>
                    </a:moveTo>
                    <a:lnTo>
                      <a:pt x="42" y="72"/>
                    </a:lnTo>
                    <a:lnTo>
                      <a:pt x="40" y="65"/>
                    </a:lnTo>
                    <a:lnTo>
                      <a:pt x="46" y="70"/>
                    </a:lnTo>
                    <a:lnTo>
                      <a:pt x="46" y="73"/>
                    </a:lnTo>
                    <a:close/>
                    <a:moveTo>
                      <a:pt x="37" y="67"/>
                    </a:moveTo>
                    <a:lnTo>
                      <a:pt x="32" y="67"/>
                    </a:lnTo>
                    <a:lnTo>
                      <a:pt x="30" y="60"/>
                    </a:lnTo>
                    <a:lnTo>
                      <a:pt x="37" y="65"/>
                    </a:lnTo>
                    <a:lnTo>
                      <a:pt x="37" y="67"/>
                    </a:lnTo>
                    <a:close/>
                    <a:moveTo>
                      <a:pt x="45" y="62"/>
                    </a:moveTo>
                    <a:lnTo>
                      <a:pt x="42" y="60"/>
                    </a:lnTo>
                    <a:lnTo>
                      <a:pt x="42" y="57"/>
                    </a:lnTo>
                    <a:lnTo>
                      <a:pt x="46" y="59"/>
                    </a:lnTo>
                    <a:lnTo>
                      <a:pt x="45" y="62"/>
                    </a:lnTo>
                    <a:close/>
                    <a:moveTo>
                      <a:pt x="67" y="59"/>
                    </a:moveTo>
                    <a:lnTo>
                      <a:pt x="66" y="59"/>
                    </a:lnTo>
                    <a:lnTo>
                      <a:pt x="64" y="57"/>
                    </a:lnTo>
                    <a:lnTo>
                      <a:pt x="67" y="59"/>
                    </a:lnTo>
                    <a:close/>
                    <a:moveTo>
                      <a:pt x="26" y="54"/>
                    </a:moveTo>
                    <a:lnTo>
                      <a:pt x="22" y="52"/>
                    </a:lnTo>
                    <a:lnTo>
                      <a:pt x="24" y="52"/>
                    </a:lnTo>
                    <a:lnTo>
                      <a:pt x="26" y="54"/>
                    </a:lnTo>
                    <a:close/>
                    <a:moveTo>
                      <a:pt x="35" y="52"/>
                    </a:moveTo>
                    <a:lnTo>
                      <a:pt x="32" y="46"/>
                    </a:lnTo>
                    <a:lnTo>
                      <a:pt x="35" y="48"/>
                    </a:lnTo>
                    <a:lnTo>
                      <a:pt x="35" y="52"/>
                    </a:lnTo>
                    <a:close/>
                    <a:moveTo>
                      <a:pt x="26" y="56"/>
                    </a:moveTo>
                    <a:lnTo>
                      <a:pt x="30" y="64"/>
                    </a:lnTo>
                    <a:lnTo>
                      <a:pt x="30" y="65"/>
                    </a:lnTo>
                    <a:lnTo>
                      <a:pt x="27" y="65"/>
                    </a:lnTo>
                    <a:lnTo>
                      <a:pt x="26" y="57"/>
                    </a:lnTo>
                    <a:lnTo>
                      <a:pt x="18" y="54"/>
                    </a:lnTo>
                    <a:lnTo>
                      <a:pt x="13" y="43"/>
                    </a:lnTo>
                    <a:lnTo>
                      <a:pt x="26" y="56"/>
                    </a:lnTo>
                    <a:close/>
                    <a:moveTo>
                      <a:pt x="18" y="44"/>
                    </a:moveTo>
                    <a:lnTo>
                      <a:pt x="24" y="48"/>
                    </a:lnTo>
                    <a:lnTo>
                      <a:pt x="26" y="54"/>
                    </a:lnTo>
                    <a:lnTo>
                      <a:pt x="13" y="43"/>
                    </a:lnTo>
                    <a:lnTo>
                      <a:pt x="18" y="44"/>
                    </a:lnTo>
                    <a:close/>
                    <a:moveTo>
                      <a:pt x="27" y="40"/>
                    </a:moveTo>
                    <a:lnTo>
                      <a:pt x="26" y="40"/>
                    </a:lnTo>
                    <a:lnTo>
                      <a:pt x="24" y="38"/>
                    </a:lnTo>
                    <a:lnTo>
                      <a:pt x="27" y="40"/>
                    </a:lnTo>
                    <a:close/>
                    <a:moveTo>
                      <a:pt x="21" y="36"/>
                    </a:moveTo>
                    <a:lnTo>
                      <a:pt x="19" y="35"/>
                    </a:lnTo>
                    <a:lnTo>
                      <a:pt x="18" y="33"/>
                    </a:lnTo>
                    <a:lnTo>
                      <a:pt x="21" y="36"/>
                    </a:lnTo>
                    <a:close/>
                    <a:moveTo>
                      <a:pt x="15" y="16"/>
                    </a:moveTo>
                    <a:lnTo>
                      <a:pt x="19" y="19"/>
                    </a:lnTo>
                    <a:lnTo>
                      <a:pt x="18" y="22"/>
                    </a:lnTo>
                    <a:lnTo>
                      <a:pt x="26" y="25"/>
                    </a:lnTo>
                    <a:lnTo>
                      <a:pt x="24" y="28"/>
                    </a:lnTo>
                    <a:lnTo>
                      <a:pt x="30" y="35"/>
                    </a:lnTo>
                    <a:lnTo>
                      <a:pt x="29" y="38"/>
                    </a:lnTo>
                    <a:lnTo>
                      <a:pt x="11" y="27"/>
                    </a:lnTo>
                    <a:lnTo>
                      <a:pt x="8" y="16"/>
                    </a:lnTo>
                    <a:lnTo>
                      <a:pt x="11" y="13"/>
                    </a:lnTo>
                    <a:lnTo>
                      <a:pt x="15" y="16"/>
                    </a:lnTo>
                    <a:close/>
                    <a:moveTo>
                      <a:pt x="19" y="33"/>
                    </a:moveTo>
                    <a:lnTo>
                      <a:pt x="19" y="36"/>
                    </a:lnTo>
                    <a:lnTo>
                      <a:pt x="29" y="43"/>
                    </a:lnTo>
                    <a:lnTo>
                      <a:pt x="38" y="62"/>
                    </a:lnTo>
                    <a:lnTo>
                      <a:pt x="30" y="59"/>
                    </a:lnTo>
                    <a:lnTo>
                      <a:pt x="26" y="48"/>
                    </a:lnTo>
                    <a:lnTo>
                      <a:pt x="15" y="41"/>
                    </a:lnTo>
                    <a:lnTo>
                      <a:pt x="13" y="35"/>
                    </a:lnTo>
                    <a:lnTo>
                      <a:pt x="15" y="41"/>
                    </a:lnTo>
                    <a:lnTo>
                      <a:pt x="7" y="33"/>
                    </a:lnTo>
                    <a:lnTo>
                      <a:pt x="0" y="19"/>
                    </a:lnTo>
                    <a:lnTo>
                      <a:pt x="0" y="13"/>
                    </a:lnTo>
                    <a:lnTo>
                      <a:pt x="8" y="17"/>
                    </a:lnTo>
                    <a:lnTo>
                      <a:pt x="11" y="27"/>
                    </a:lnTo>
                    <a:lnTo>
                      <a:pt x="19" y="33"/>
                    </a:lnTo>
                    <a:close/>
                    <a:moveTo>
                      <a:pt x="2" y="3"/>
                    </a:moveTo>
                    <a:lnTo>
                      <a:pt x="3" y="3"/>
                    </a:lnTo>
                    <a:lnTo>
                      <a:pt x="2" y="5"/>
                    </a:lnTo>
                    <a:lnTo>
                      <a:pt x="10" y="16"/>
                    </a:lnTo>
                    <a:lnTo>
                      <a:pt x="5" y="16"/>
                    </a:lnTo>
                    <a:lnTo>
                      <a:pt x="0" y="13"/>
                    </a:lnTo>
                    <a:lnTo>
                      <a:pt x="0" y="0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pPr algn="ctr"/>
                <a:endParaRPr lang="en-US" sz="8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0" name="Freeform 230">
              <a:extLst>
                <a:ext uri="{FF2B5EF4-FFF2-40B4-BE49-F238E27FC236}">
                  <a16:creationId xmlns:a16="http://schemas.microsoft.com/office/drawing/2014/main" id="{0B50F121-59E5-4BE9-8C1F-B1DC77C323E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9925" y="5575300"/>
              <a:ext cx="317500" cy="301625"/>
            </a:xfrm>
            <a:custGeom>
              <a:avLst/>
              <a:gdLst>
                <a:gd name="T0" fmla="*/ 198 w 200"/>
                <a:gd name="T1" fmla="*/ 61 h 190"/>
                <a:gd name="T2" fmla="*/ 192 w 200"/>
                <a:gd name="T3" fmla="*/ 61 h 190"/>
                <a:gd name="T4" fmla="*/ 185 w 200"/>
                <a:gd name="T5" fmla="*/ 51 h 190"/>
                <a:gd name="T6" fmla="*/ 176 w 200"/>
                <a:gd name="T7" fmla="*/ 75 h 190"/>
                <a:gd name="T8" fmla="*/ 179 w 200"/>
                <a:gd name="T9" fmla="*/ 79 h 190"/>
                <a:gd name="T10" fmla="*/ 177 w 200"/>
                <a:gd name="T11" fmla="*/ 85 h 190"/>
                <a:gd name="T12" fmla="*/ 182 w 200"/>
                <a:gd name="T13" fmla="*/ 90 h 190"/>
                <a:gd name="T14" fmla="*/ 181 w 200"/>
                <a:gd name="T15" fmla="*/ 96 h 190"/>
                <a:gd name="T16" fmla="*/ 176 w 200"/>
                <a:gd name="T17" fmla="*/ 101 h 190"/>
                <a:gd name="T18" fmla="*/ 179 w 200"/>
                <a:gd name="T19" fmla="*/ 102 h 190"/>
                <a:gd name="T20" fmla="*/ 176 w 200"/>
                <a:gd name="T21" fmla="*/ 106 h 190"/>
                <a:gd name="T22" fmla="*/ 176 w 200"/>
                <a:gd name="T23" fmla="*/ 109 h 190"/>
                <a:gd name="T24" fmla="*/ 171 w 200"/>
                <a:gd name="T25" fmla="*/ 115 h 190"/>
                <a:gd name="T26" fmla="*/ 165 w 200"/>
                <a:gd name="T27" fmla="*/ 128 h 190"/>
                <a:gd name="T28" fmla="*/ 155 w 200"/>
                <a:gd name="T29" fmla="*/ 139 h 190"/>
                <a:gd name="T30" fmla="*/ 157 w 200"/>
                <a:gd name="T31" fmla="*/ 144 h 190"/>
                <a:gd name="T32" fmla="*/ 149 w 200"/>
                <a:gd name="T33" fmla="*/ 155 h 190"/>
                <a:gd name="T34" fmla="*/ 145 w 200"/>
                <a:gd name="T35" fmla="*/ 169 h 190"/>
                <a:gd name="T36" fmla="*/ 145 w 200"/>
                <a:gd name="T37" fmla="*/ 173 h 190"/>
                <a:gd name="T38" fmla="*/ 137 w 200"/>
                <a:gd name="T39" fmla="*/ 190 h 190"/>
                <a:gd name="T40" fmla="*/ 126 w 200"/>
                <a:gd name="T41" fmla="*/ 190 h 190"/>
                <a:gd name="T42" fmla="*/ 106 w 200"/>
                <a:gd name="T43" fmla="*/ 184 h 190"/>
                <a:gd name="T44" fmla="*/ 82 w 200"/>
                <a:gd name="T45" fmla="*/ 173 h 190"/>
                <a:gd name="T46" fmla="*/ 61 w 200"/>
                <a:gd name="T47" fmla="*/ 179 h 190"/>
                <a:gd name="T48" fmla="*/ 50 w 200"/>
                <a:gd name="T49" fmla="*/ 177 h 190"/>
                <a:gd name="T50" fmla="*/ 26 w 200"/>
                <a:gd name="T51" fmla="*/ 147 h 190"/>
                <a:gd name="T52" fmla="*/ 26 w 200"/>
                <a:gd name="T53" fmla="*/ 112 h 190"/>
                <a:gd name="T54" fmla="*/ 21 w 200"/>
                <a:gd name="T55" fmla="*/ 112 h 190"/>
                <a:gd name="T56" fmla="*/ 13 w 200"/>
                <a:gd name="T57" fmla="*/ 126 h 190"/>
                <a:gd name="T58" fmla="*/ 10 w 200"/>
                <a:gd name="T59" fmla="*/ 128 h 190"/>
                <a:gd name="T60" fmla="*/ 0 w 200"/>
                <a:gd name="T61" fmla="*/ 122 h 190"/>
                <a:gd name="T62" fmla="*/ 0 w 200"/>
                <a:gd name="T63" fmla="*/ 80 h 190"/>
                <a:gd name="T64" fmla="*/ 10 w 200"/>
                <a:gd name="T65" fmla="*/ 79 h 190"/>
                <a:gd name="T66" fmla="*/ 23 w 200"/>
                <a:gd name="T67" fmla="*/ 69 h 190"/>
                <a:gd name="T68" fmla="*/ 43 w 200"/>
                <a:gd name="T69" fmla="*/ 71 h 190"/>
                <a:gd name="T70" fmla="*/ 50 w 200"/>
                <a:gd name="T71" fmla="*/ 67 h 190"/>
                <a:gd name="T72" fmla="*/ 70 w 200"/>
                <a:gd name="T73" fmla="*/ 51 h 190"/>
                <a:gd name="T74" fmla="*/ 74 w 200"/>
                <a:gd name="T75" fmla="*/ 42 h 190"/>
                <a:gd name="T76" fmla="*/ 80 w 200"/>
                <a:gd name="T77" fmla="*/ 40 h 190"/>
                <a:gd name="T78" fmla="*/ 96 w 200"/>
                <a:gd name="T79" fmla="*/ 31 h 190"/>
                <a:gd name="T80" fmla="*/ 106 w 200"/>
                <a:gd name="T81" fmla="*/ 29 h 190"/>
                <a:gd name="T82" fmla="*/ 120 w 200"/>
                <a:gd name="T83" fmla="*/ 34 h 190"/>
                <a:gd name="T84" fmla="*/ 130 w 200"/>
                <a:gd name="T85" fmla="*/ 34 h 190"/>
                <a:gd name="T86" fmla="*/ 137 w 200"/>
                <a:gd name="T87" fmla="*/ 31 h 190"/>
                <a:gd name="T88" fmla="*/ 155 w 200"/>
                <a:gd name="T89" fmla="*/ 20 h 190"/>
                <a:gd name="T90" fmla="*/ 168 w 200"/>
                <a:gd name="T91" fmla="*/ 2 h 190"/>
                <a:gd name="T92" fmla="*/ 197 w 200"/>
                <a:gd name="T93" fmla="*/ 0 h 190"/>
                <a:gd name="T94" fmla="*/ 200 w 200"/>
                <a:gd name="T95" fmla="*/ 31 h 190"/>
                <a:gd name="T96" fmla="*/ 198 w 200"/>
                <a:gd name="T97" fmla="*/ 61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00" h="190">
                  <a:moveTo>
                    <a:pt x="198" y="61"/>
                  </a:moveTo>
                  <a:lnTo>
                    <a:pt x="192" y="61"/>
                  </a:lnTo>
                  <a:lnTo>
                    <a:pt x="185" y="51"/>
                  </a:lnTo>
                  <a:lnTo>
                    <a:pt x="176" y="75"/>
                  </a:lnTo>
                  <a:lnTo>
                    <a:pt x="179" y="79"/>
                  </a:lnTo>
                  <a:lnTo>
                    <a:pt x="177" y="85"/>
                  </a:lnTo>
                  <a:lnTo>
                    <a:pt x="182" y="90"/>
                  </a:lnTo>
                  <a:lnTo>
                    <a:pt x="181" y="96"/>
                  </a:lnTo>
                  <a:lnTo>
                    <a:pt x="176" y="101"/>
                  </a:lnTo>
                  <a:lnTo>
                    <a:pt x="179" y="102"/>
                  </a:lnTo>
                  <a:lnTo>
                    <a:pt x="176" y="106"/>
                  </a:lnTo>
                  <a:lnTo>
                    <a:pt x="176" y="109"/>
                  </a:lnTo>
                  <a:lnTo>
                    <a:pt x="171" y="115"/>
                  </a:lnTo>
                  <a:lnTo>
                    <a:pt x="165" y="128"/>
                  </a:lnTo>
                  <a:lnTo>
                    <a:pt x="155" y="139"/>
                  </a:lnTo>
                  <a:lnTo>
                    <a:pt x="157" y="144"/>
                  </a:lnTo>
                  <a:lnTo>
                    <a:pt x="149" y="155"/>
                  </a:lnTo>
                  <a:lnTo>
                    <a:pt x="145" y="169"/>
                  </a:lnTo>
                  <a:lnTo>
                    <a:pt x="145" y="173"/>
                  </a:lnTo>
                  <a:lnTo>
                    <a:pt x="137" y="190"/>
                  </a:lnTo>
                  <a:lnTo>
                    <a:pt x="126" y="190"/>
                  </a:lnTo>
                  <a:lnTo>
                    <a:pt x="106" y="184"/>
                  </a:lnTo>
                  <a:lnTo>
                    <a:pt x="82" y="173"/>
                  </a:lnTo>
                  <a:lnTo>
                    <a:pt x="61" y="179"/>
                  </a:lnTo>
                  <a:lnTo>
                    <a:pt x="50" y="177"/>
                  </a:lnTo>
                  <a:lnTo>
                    <a:pt x="26" y="147"/>
                  </a:lnTo>
                  <a:lnTo>
                    <a:pt x="26" y="112"/>
                  </a:lnTo>
                  <a:lnTo>
                    <a:pt x="21" y="112"/>
                  </a:lnTo>
                  <a:lnTo>
                    <a:pt x="13" y="126"/>
                  </a:lnTo>
                  <a:lnTo>
                    <a:pt x="10" y="128"/>
                  </a:lnTo>
                  <a:lnTo>
                    <a:pt x="0" y="122"/>
                  </a:lnTo>
                  <a:lnTo>
                    <a:pt x="0" y="80"/>
                  </a:lnTo>
                  <a:lnTo>
                    <a:pt x="10" y="79"/>
                  </a:lnTo>
                  <a:lnTo>
                    <a:pt x="23" y="69"/>
                  </a:lnTo>
                  <a:lnTo>
                    <a:pt x="43" y="71"/>
                  </a:lnTo>
                  <a:lnTo>
                    <a:pt x="50" y="67"/>
                  </a:lnTo>
                  <a:lnTo>
                    <a:pt x="70" y="51"/>
                  </a:lnTo>
                  <a:lnTo>
                    <a:pt x="74" y="42"/>
                  </a:lnTo>
                  <a:lnTo>
                    <a:pt x="80" y="40"/>
                  </a:lnTo>
                  <a:lnTo>
                    <a:pt x="96" y="31"/>
                  </a:lnTo>
                  <a:lnTo>
                    <a:pt x="106" y="29"/>
                  </a:lnTo>
                  <a:lnTo>
                    <a:pt x="120" y="34"/>
                  </a:lnTo>
                  <a:lnTo>
                    <a:pt x="130" y="34"/>
                  </a:lnTo>
                  <a:lnTo>
                    <a:pt x="137" y="31"/>
                  </a:lnTo>
                  <a:lnTo>
                    <a:pt x="155" y="20"/>
                  </a:lnTo>
                  <a:lnTo>
                    <a:pt x="168" y="2"/>
                  </a:lnTo>
                  <a:lnTo>
                    <a:pt x="197" y="0"/>
                  </a:lnTo>
                  <a:lnTo>
                    <a:pt x="200" y="31"/>
                  </a:lnTo>
                  <a:lnTo>
                    <a:pt x="198" y="6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/>
            <a:lstStyle/>
            <a:p>
              <a:pPr algn="ctr"/>
              <a:endParaRPr lang="en-US" sz="800" dirty="0"/>
            </a:p>
          </p:txBody>
        </p:sp>
        <p:sp>
          <p:nvSpPr>
            <p:cNvPr id="41" name="Freeform 231">
              <a:extLst>
                <a:ext uri="{FF2B5EF4-FFF2-40B4-BE49-F238E27FC236}">
                  <a16:creationId xmlns:a16="http://schemas.microsoft.com/office/drawing/2014/main" id="{616419D6-4952-4B49-A2F8-09D2D00534ED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4188" y="4041775"/>
              <a:ext cx="1271587" cy="787400"/>
            </a:xfrm>
            <a:custGeom>
              <a:avLst/>
              <a:gdLst>
                <a:gd name="T0" fmla="*/ 788 w 801"/>
                <a:gd name="T1" fmla="*/ 376 h 496"/>
                <a:gd name="T2" fmla="*/ 705 w 801"/>
                <a:gd name="T3" fmla="*/ 411 h 496"/>
                <a:gd name="T4" fmla="*/ 641 w 801"/>
                <a:gd name="T5" fmla="*/ 389 h 496"/>
                <a:gd name="T6" fmla="*/ 611 w 801"/>
                <a:gd name="T7" fmla="*/ 442 h 496"/>
                <a:gd name="T8" fmla="*/ 651 w 801"/>
                <a:gd name="T9" fmla="*/ 465 h 496"/>
                <a:gd name="T10" fmla="*/ 644 w 801"/>
                <a:gd name="T11" fmla="*/ 494 h 496"/>
                <a:gd name="T12" fmla="*/ 537 w 801"/>
                <a:gd name="T13" fmla="*/ 493 h 496"/>
                <a:gd name="T14" fmla="*/ 450 w 801"/>
                <a:gd name="T15" fmla="*/ 485 h 496"/>
                <a:gd name="T16" fmla="*/ 407 w 801"/>
                <a:gd name="T17" fmla="*/ 467 h 496"/>
                <a:gd name="T18" fmla="*/ 354 w 801"/>
                <a:gd name="T19" fmla="*/ 344 h 496"/>
                <a:gd name="T20" fmla="*/ 387 w 801"/>
                <a:gd name="T21" fmla="*/ 255 h 496"/>
                <a:gd name="T22" fmla="*/ 309 w 801"/>
                <a:gd name="T23" fmla="*/ 256 h 496"/>
                <a:gd name="T24" fmla="*/ 263 w 801"/>
                <a:gd name="T25" fmla="*/ 205 h 496"/>
                <a:gd name="T26" fmla="*/ 228 w 801"/>
                <a:gd name="T27" fmla="*/ 263 h 496"/>
                <a:gd name="T28" fmla="*/ 83 w 801"/>
                <a:gd name="T29" fmla="*/ 315 h 496"/>
                <a:gd name="T30" fmla="*/ 49 w 801"/>
                <a:gd name="T31" fmla="*/ 338 h 496"/>
                <a:gd name="T32" fmla="*/ 9 w 801"/>
                <a:gd name="T33" fmla="*/ 360 h 496"/>
                <a:gd name="T34" fmla="*/ 0 w 801"/>
                <a:gd name="T35" fmla="*/ 338 h 496"/>
                <a:gd name="T36" fmla="*/ 6 w 801"/>
                <a:gd name="T37" fmla="*/ 327 h 496"/>
                <a:gd name="T38" fmla="*/ 3 w 801"/>
                <a:gd name="T39" fmla="*/ 303 h 496"/>
                <a:gd name="T40" fmla="*/ 4 w 801"/>
                <a:gd name="T41" fmla="*/ 288 h 496"/>
                <a:gd name="T42" fmla="*/ 9 w 801"/>
                <a:gd name="T43" fmla="*/ 276 h 496"/>
                <a:gd name="T44" fmla="*/ 11 w 801"/>
                <a:gd name="T45" fmla="*/ 260 h 496"/>
                <a:gd name="T46" fmla="*/ 11 w 801"/>
                <a:gd name="T47" fmla="*/ 253 h 496"/>
                <a:gd name="T48" fmla="*/ 12 w 801"/>
                <a:gd name="T49" fmla="*/ 245 h 496"/>
                <a:gd name="T50" fmla="*/ 92 w 801"/>
                <a:gd name="T51" fmla="*/ 210 h 496"/>
                <a:gd name="T52" fmla="*/ 94 w 801"/>
                <a:gd name="T53" fmla="*/ 153 h 496"/>
                <a:gd name="T54" fmla="*/ 124 w 801"/>
                <a:gd name="T55" fmla="*/ 102 h 496"/>
                <a:gd name="T56" fmla="*/ 140 w 801"/>
                <a:gd name="T57" fmla="*/ 81 h 496"/>
                <a:gd name="T58" fmla="*/ 174 w 801"/>
                <a:gd name="T59" fmla="*/ 51 h 496"/>
                <a:gd name="T60" fmla="*/ 201 w 801"/>
                <a:gd name="T61" fmla="*/ 33 h 496"/>
                <a:gd name="T62" fmla="*/ 217 w 801"/>
                <a:gd name="T63" fmla="*/ 9 h 496"/>
                <a:gd name="T64" fmla="*/ 236 w 801"/>
                <a:gd name="T65" fmla="*/ 0 h 496"/>
                <a:gd name="T66" fmla="*/ 253 w 801"/>
                <a:gd name="T67" fmla="*/ 4 h 496"/>
                <a:gd name="T68" fmla="*/ 269 w 801"/>
                <a:gd name="T69" fmla="*/ 17 h 496"/>
                <a:gd name="T70" fmla="*/ 287 w 801"/>
                <a:gd name="T71" fmla="*/ 25 h 496"/>
                <a:gd name="T72" fmla="*/ 290 w 801"/>
                <a:gd name="T73" fmla="*/ 32 h 496"/>
                <a:gd name="T74" fmla="*/ 282 w 801"/>
                <a:gd name="T75" fmla="*/ 43 h 496"/>
                <a:gd name="T76" fmla="*/ 295 w 801"/>
                <a:gd name="T77" fmla="*/ 46 h 496"/>
                <a:gd name="T78" fmla="*/ 316 w 801"/>
                <a:gd name="T79" fmla="*/ 57 h 496"/>
                <a:gd name="T80" fmla="*/ 391 w 801"/>
                <a:gd name="T81" fmla="*/ 130 h 496"/>
                <a:gd name="T82" fmla="*/ 472 w 801"/>
                <a:gd name="T83" fmla="*/ 210 h 496"/>
                <a:gd name="T84" fmla="*/ 515 w 801"/>
                <a:gd name="T85" fmla="*/ 217 h 496"/>
                <a:gd name="T86" fmla="*/ 549 w 801"/>
                <a:gd name="T87" fmla="*/ 221 h 496"/>
                <a:gd name="T88" fmla="*/ 604 w 801"/>
                <a:gd name="T89" fmla="*/ 258 h 496"/>
                <a:gd name="T90" fmla="*/ 641 w 801"/>
                <a:gd name="T91" fmla="*/ 269 h 496"/>
                <a:gd name="T92" fmla="*/ 679 w 801"/>
                <a:gd name="T93" fmla="*/ 296 h 496"/>
                <a:gd name="T94" fmla="*/ 748 w 801"/>
                <a:gd name="T95" fmla="*/ 317 h 496"/>
                <a:gd name="T96" fmla="*/ 788 w 801"/>
                <a:gd name="T97" fmla="*/ 314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01" h="496">
                  <a:moveTo>
                    <a:pt x="799" y="323"/>
                  </a:moveTo>
                  <a:lnTo>
                    <a:pt x="801" y="352"/>
                  </a:lnTo>
                  <a:lnTo>
                    <a:pt x="799" y="359"/>
                  </a:lnTo>
                  <a:lnTo>
                    <a:pt x="788" y="376"/>
                  </a:lnTo>
                  <a:lnTo>
                    <a:pt x="786" y="405"/>
                  </a:lnTo>
                  <a:lnTo>
                    <a:pt x="780" y="408"/>
                  </a:lnTo>
                  <a:lnTo>
                    <a:pt x="775" y="410"/>
                  </a:lnTo>
                  <a:lnTo>
                    <a:pt x="705" y="411"/>
                  </a:lnTo>
                  <a:lnTo>
                    <a:pt x="662" y="392"/>
                  </a:lnTo>
                  <a:lnTo>
                    <a:pt x="654" y="384"/>
                  </a:lnTo>
                  <a:lnTo>
                    <a:pt x="648" y="384"/>
                  </a:lnTo>
                  <a:lnTo>
                    <a:pt x="641" y="389"/>
                  </a:lnTo>
                  <a:lnTo>
                    <a:pt x="633" y="410"/>
                  </a:lnTo>
                  <a:lnTo>
                    <a:pt x="627" y="411"/>
                  </a:lnTo>
                  <a:lnTo>
                    <a:pt x="612" y="426"/>
                  </a:lnTo>
                  <a:lnTo>
                    <a:pt x="611" y="442"/>
                  </a:lnTo>
                  <a:lnTo>
                    <a:pt x="622" y="451"/>
                  </a:lnTo>
                  <a:lnTo>
                    <a:pt x="633" y="456"/>
                  </a:lnTo>
                  <a:lnTo>
                    <a:pt x="635" y="467"/>
                  </a:lnTo>
                  <a:lnTo>
                    <a:pt x="651" y="465"/>
                  </a:lnTo>
                  <a:lnTo>
                    <a:pt x="656" y="469"/>
                  </a:lnTo>
                  <a:lnTo>
                    <a:pt x="657" y="477"/>
                  </a:lnTo>
                  <a:lnTo>
                    <a:pt x="649" y="496"/>
                  </a:lnTo>
                  <a:lnTo>
                    <a:pt x="644" y="494"/>
                  </a:lnTo>
                  <a:lnTo>
                    <a:pt x="644" y="486"/>
                  </a:lnTo>
                  <a:lnTo>
                    <a:pt x="635" y="485"/>
                  </a:lnTo>
                  <a:lnTo>
                    <a:pt x="592" y="494"/>
                  </a:lnTo>
                  <a:lnTo>
                    <a:pt x="537" y="493"/>
                  </a:lnTo>
                  <a:lnTo>
                    <a:pt x="529" y="483"/>
                  </a:lnTo>
                  <a:lnTo>
                    <a:pt x="520" y="478"/>
                  </a:lnTo>
                  <a:lnTo>
                    <a:pt x="461" y="486"/>
                  </a:lnTo>
                  <a:lnTo>
                    <a:pt x="450" y="485"/>
                  </a:lnTo>
                  <a:lnTo>
                    <a:pt x="429" y="489"/>
                  </a:lnTo>
                  <a:lnTo>
                    <a:pt x="415" y="488"/>
                  </a:lnTo>
                  <a:lnTo>
                    <a:pt x="410" y="481"/>
                  </a:lnTo>
                  <a:lnTo>
                    <a:pt x="407" y="467"/>
                  </a:lnTo>
                  <a:lnTo>
                    <a:pt x="405" y="426"/>
                  </a:lnTo>
                  <a:lnTo>
                    <a:pt x="381" y="389"/>
                  </a:lnTo>
                  <a:lnTo>
                    <a:pt x="375" y="371"/>
                  </a:lnTo>
                  <a:lnTo>
                    <a:pt x="354" y="344"/>
                  </a:lnTo>
                  <a:lnTo>
                    <a:pt x="343" y="322"/>
                  </a:lnTo>
                  <a:lnTo>
                    <a:pt x="346" y="307"/>
                  </a:lnTo>
                  <a:lnTo>
                    <a:pt x="384" y="264"/>
                  </a:lnTo>
                  <a:lnTo>
                    <a:pt x="387" y="255"/>
                  </a:lnTo>
                  <a:lnTo>
                    <a:pt x="383" y="252"/>
                  </a:lnTo>
                  <a:lnTo>
                    <a:pt x="370" y="258"/>
                  </a:lnTo>
                  <a:lnTo>
                    <a:pt x="336" y="263"/>
                  </a:lnTo>
                  <a:lnTo>
                    <a:pt x="309" y="256"/>
                  </a:lnTo>
                  <a:lnTo>
                    <a:pt x="296" y="252"/>
                  </a:lnTo>
                  <a:lnTo>
                    <a:pt x="287" y="239"/>
                  </a:lnTo>
                  <a:lnTo>
                    <a:pt x="271" y="207"/>
                  </a:lnTo>
                  <a:lnTo>
                    <a:pt x="263" y="205"/>
                  </a:lnTo>
                  <a:lnTo>
                    <a:pt x="255" y="213"/>
                  </a:lnTo>
                  <a:lnTo>
                    <a:pt x="255" y="221"/>
                  </a:lnTo>
                  <a:lnTo>
                    <a:pt x="244" y="242"/>
                  </a:lnTo>
                  <a:lnTo>
                    <a:pt x="228" y="263"/>
                  </a:lnTo>
                  <a:lnTo>
                    <a:pt x="185" y="272"/>
                  </a:lnTo>
                  <a:lnTo>
                    <a:pt x="138" y="290"/>
                  </a:lnTo>
                  <a:lnTo>
                    <a:pt x="97" y="295"/>
                  </a:lnTo>
                  <a:lnTo>
                    <a:pt x="83" y="315"/>
                  </a:lnTo>
                  <a:lnTo>
                    <a:pt x="70" y="322"/>
                  </a:lnTo>
                  <a:lnTo>
                    <a:pt x="65" y="322"/>
                  </a:lnTo>
                  <a:lnTo>
                    <a:pt x="52" y="338"/>
                  </a:lnTo>
                  <a:lnTo>
                    <a:pt x="49" y="338"/>
                  </a:lnTo>
                  <a:lnTo>
                    <a:pt x="46" y="344"/>
                  </a:lnTo>
                  <a:lnTo>
                    <a:pt x="14" y="349"/>
                  </a:lnTo>
                  <a:lnTo>
                    <a:pt x="9" y="351"/>
                  </a:lnTo>
                  <a:lnTo>
                    <a:pt x="9" y="360"/>
                  </a:lnTo>
                  <a:lnTo>
                    <a:pt x="6" y="359"/>
                  </a:lnTo>
                  <a:lnTo>
                    <a:pt x="4" y="354"/>
                  </a:lnTo>
                  <a:lnTo>
                    <a:pt x="6" y="339"/>
                  </a:lnTo>
                  <a:lnTo>
                    <a:pt x="0" y="338"/>
                  </a:lnTo>
                  <a:lnTo>
                    <a:pt x="4" y="333"/>
                  </a:lnTo>
                  <a:lnTo>
                    <a:pt x="1" y="331"/>
                  </a:lnTo>
                  <a:lnTo>
                    <a:pt x="3" y="330"/>
                  </a:lnTo>
                  <a:lnTo>
                    <a:pt x="6" y="327"/>
                  </a:lnTo>
                  <a:lnTo>
                    <a:pt x="3" y="325"/>
                  </a:lnTo>
                  <a:lnTo>
                    <a:pt x="4" y="317"/>
                  </a:lnTo>
                  <a:lnTo>
                    <a:pt x="0" y="307"/>
                  </a:lnTo>
                  <a:lnTo>
                    <a:pt x="3" y="303"/>
                  </a:lnTo>
                  <a:lnTo>
                    <a:pt x="8" y="301"/>
                  </a:lnTo>
                  <a:lnTo>
                    <a:pt x="6" y="298"/>
                  </a:lnTo>
                  <a:lnTo>
                    <a:pt x="8" y="290"/>
                  </a:lnTo>
                  <a:lnTo>
                    <a:pt x="4" y="288"/>
                  </a:lnTo>
                  <a:lnTo>
                    <a:pt x="9" y="287"/>
                  </a:lnTo>
                  <a:lnTo>
                    <a:pt x="9" y="280"/>
                  </a:lnTo>
                  <a:lnTo>
                    <a:pt x="6" y="277"/>
                  </a:lnTo>
                  <a:lnTo>
                    <a:pt x="9" y="276"/>
                  </a:lnTo>
                  <a:lnTo>
                    <a:pt x="12" y="271"/>
                  </a:lnTo>
                  <a:lnTo>
                    <a:pt x="9" y="266"/>
                  </a:lnTo>
                  <a:lnTo>
                    <a:pt x="14" y="263"/>
                  </a:lnTo>
                  <a:lnTo>
                    <a:pt x="11" y="260"/>
                  </a:lnTo>
                  <a:lnTo>
                    <a:pt x="14" y="258"/>
                  </a:lnTo>
                  <a:lnTo>
                    <a:pt x="11" y="258"/>
                  </a:lnTo>
                  <a:lnTo>
                    <a:pt x="12" y="256"/>
                  </a:lnTo>
                  <a:lnTo>
                    <a:pt x="11" y="253"/>
                  </a:lnTo>
                  <a:lnTo>
                    <a:pt x="14" y="252"/>
                  </a:lnTo>
                  <a:lnTo>
                    <a:pt x="9" y="250"/>
                  </a:lnTo>
                  <a:lnTo>
                    <a:pt x="14" y="245"/>
                  </a:lnTo>
                  <a:lnTo>
                    <a:pt x="12" y="245"/>
                  </a:lnTo>
                  <a:lnTo>
                    <a:pt x="11" y="240"/>
                  </a:lnTo>
                  <a:lnTo>
                    <a:pt x="28" y="244"/>
                  </a:lnTo>
                  <a:lnTo>
                    <a:pt x="83" y="233"/>
                  </a:lnTo>
                  <a:lnTo>
                    <a:pt x="92" y="210"/>
                  </a:lnTo>
                  <a:lnTo>
                    <a:pt x="92" y="201"/>
                  </a:lnTo>
                  <a:lnTo>
                    <a:pt x="100" y="188"/>
                  </a:lnTo>
                  <a:lnTo>
                    <a:pt x="100" y="170"/>
                  </a:lnTo>
                  <a:lnTo>
                    <a:pt x="94" y="153"/>
                  </a:lnTo>
                  <a:lnTo>
                    <a:pt x="97" y="143"/>
                  </a:lnTo>
                  <a:lnTo>
                    <a:pt x="108" y="135"/>
                  </a:lnTo>
                  <a:lnTo>
                    <a:pt x="123" y="113"/>
                  </a:lnTo>
                  <a:lnTo>
                    <a:pt x="124" y="102"/>
                  </a:lnTo>
                  <a:lnTo>
                    <a:pt x="131" y="99"/>
                  </a:lnTo>
                  <a:lnTo>
                    <a:pt x="137" y="102"/>
                  </a:lnTo>
                  <a:lnTo>
                    <a:pt x="146" y="91"/>
                  </a:lnTo>
                  <a:lnTo>
                    <a:pt x="140" y="81"/>
                  </a:lnTo>
                  <a:lnTo>
                    <a:pt x="140" y="65"/>
                  </a:lnTo>
                  <a:lnTo>
                    <a:pt x="148" y="59"/>
                  </a:lnTo>
                  <a:lnTo>
                    <a:pt x="167" y="52"/>
                  </a:lnTo>
                  <a:lnTo>
                    <a:pt x="174" y="51"/>
                  </a:lnTo>
                  <a:lnTo>
                    <a:pt x="183" y="54"/>
                  </a:lnTo>
                  <a:lnTo>
                    <a:pt x="191" y="49"/>
                  </a:lnTo>
                  <a:lnTo>
                    <a:pt x="194" y="36"/>
                  </a:lnTo>
                  <a:lnTo>
                    <a:pt x="201" y="33"/>
                  </a:lnTo>
                  <a:lnTo>
                    <a:pt x="206" y="25"/>
                  </a:lnTo>
                  <a:lnTo>
                    <a:pt x="202" y="8"/>
                  </a:lnTo>
                  <a:lnTo>
                    <a:pt x="206" y="6"/>
                  </a:lnTo>
                  <a:lnTo>
                    <a:pt x="217" y="9"/>
                  </a:lnTo>
                  <a:lnTo>
                    <a:pt x="220" y="6"/>
                  </a:lnTo>
                  <a:lnTo>
                    <a:pt x="233" y="8"/>
                  </a:lnTo>
                  <a:lnTo>
                    <a:pt x="236" y="4"/>
                  </a:lnTo>
                  <a:lnTo>
                    <a:pt x="236" y="0"/>
                  </a:lnTo>
                  <a:lnTo>
                    <a:pt x="244" y="12"/>
                  </a:lnTo>
                  <a:lnTo>
                    <a:pt x="247" y="12"/>
                  </a:lnTo>
                  <a:lnTo>
                    <a:pt x="245" y="6"/>
                  </a:lnTo>
                  <a:lnTo>
                    <a:pt x="253" y="4"/>
                  </a:lnTo>
                  <a:lnTo>
                    <a:pt x="257" y="9"/>
                  </a:lnTo>
                  <a:lnTo>
                    <a:pt x="263" y="8"/>
                  </a:lnTo>
                  <a:lnTo>
                    <a:pt x="274" y="14"/>
                  </a:lnTo>
                  <a:lnTo>
                    <a:pt x="269" y="17"/>
                  </a:lnTo>
                  <a:lnTo>
                    <a:pt x="271" y="24"/>
                  </a:lnTo>
                  <a:lnTo>
                    <a:pt x="277" y="20"/>
                  </a:lnTo>
                  <a:lnTo>
                    <a:pt x="282" y="22"/>
                  </a:lnTo>
                  <a:lnTo>
                    <a:pt x="287" y="25"/>
                  </a:lnTo>
                  <a:lnTo>
                    <a:pt x="281" y="27"/>
                  </a:lnTo>
                  <a:lnTo>
                    <a:pt x="282" y="32"/>
                  </a:lnTo>
                  <a:lnTo>
                    <a:pt x="285" y="30"/>
                  </a:lnTo>
                  <a:lnTo>
                    <a:pt x="290" y="32"/>
                  </a:lnTo>
                  <a:lnTo>
                    <a:pt x="288" y="38"/>
                  </a:lnTo>
                  <a:lnTo>
                    <a:pt x="285" y="35"/>
                  </a:lnTo>
                  <a:lnTo>
                    <a:pt x="281" y="38"/>
                  </a:lnTo>
                  <a:lnTo>
                    <a:pt x="282" y="43"/>
                  </a:lnTo>
                  <a:lnTo>
                    <a:pt x="285" y="41"/>
                  </a:lnTo>
                  <a:lnTo>
                    <a:pt x="288" y="44"/>
                  </a:lnTo>
                  <a:lnTo>
                    <a:pt x="293" y="43"/>
                  </a:lnTo>
                  <a:lnTo>
                    <a:pt x="295" y="46"/>
                  </a:lnTo>
                  <a:lnTo>
                    <a:pt x="298" y="41"/>
                  </a:lnTo>
                  <a:lnTo>
                    <a:pt x="303" y="55"/>
                  </a:lnTo>
                  <a:lnTo>
                    <a:pt x="308" y="52"/>
                  </a:lnTo>
                  <a:lnTo>
                    <a:pt x="316" y="57"/>
                  </a:lnTo>
                  <a:lnTo>
                    <a:pt x="320" y="49"/>
                  </a:lnTo>
                  <a:lnTo>
                    <a:pt x="325" y="49"/>
                  </a:lnTo>
                  <a:lnTo>
                    <a:pt x="325" y="55"/>
                  </a:lnTo>
                  <a:lnTo>
                    <a:pt x="391" y="130"/>
                  </a:lnTo>
                  <a:lnTo>
                    <a:pt x="438" y="172"/>
                  </a:lnTo>
                  <a:lnTo>
                    <a:pt x="446" y="185"/>
                  </a:lnTo>
                  <a:lnTo>
                    <a:pt x="470" y="193"/>
                  </a:lnTo>
                  <a:lnTo>
                    <a:pt x="472" y="210"/>
                  </a:lnTo>
                  <a:lnTo>
                    <a:pt x="478" y="223"/>
                  </a:lnTo>
                  <a:lnTo>
                    <a:pt x="491" y="226"/>
                  </a:lnTo>
                  <a:lnTo>
                    <a:pt x="504" y="218"/>
                  </a:lnTo>
                  <a:lnTo>
                    <a:pt x="515" y="217"/>
                  </a:lnTo>
                  <a:lnTo>
                    <a:pt x="526" y="207"/>
                  </a:lnTo>
                  <a:lnTo>
                    <a:pt x="533" y="207"/>
                  </a:lnTo>
                  <a:lnTo>
                    <a:pt x="539" y="210"/>
                  </a:lnTo>
                  <a:lnTo>
                    <a:pt x="549" y="221"/>
                  </a:lnTo>
                  <a:lnTo>
                    <a:pt x="566" y="229"/>
                  </a:lnTo>
                  <a:lnTo>
                    <a:pt x="577" y="247"/>
                  </a:lnTo>
                  <a:lnTo>
                    <a:pt x="585" y="252"/>
                  </a:lnTo>
                  <a:lnTo>
                    <a:pt x="604" y="258"/>
                  </a:lnTo>
                  <a:lnTo>
                    <a:pt x="616" y="258"/>
                  </a:lnTo>
                  <a:lnTo>
                    <a:pt x="622" y="263"/>
                  </a:lnTo>
                  <a:lnTo>
                    <a:pt x="633" y="261"/>
                  </a:lnTo>
                  <a:lnTo>
                    <a:pt x="641" y="269"/>
                  </a:lnTo>
                  <a:lnTo>
                    <a:pt x="654" y="272"/>
                  </a:lnTo>
                  <a:lnTo>
                    <a:pt x="662" y="284"/>
                  </a:lnTo>
                  <a:lnTo>
                    <a:pt x="670" y="285"/>
                  </a:lnTo>
                  <a:lnTo>
                    <a:pt x="679" y="296"/>
                  </a:lnTo>
                  <a:lnTo>
                    <a:pt x="687" y="298"/>
                  </a:lnTo>
                  <a:lnTo>
                    <a:pt x="699" y="298"/>
                  </a:lnTo>
                  <a:lnTo>
                    <a:pt x="716" y="319"/>
                  </a:lnTo>
                  <a:lnTo>
                    <a:pt x="748" y="317"/>
                  </a:lnTo>
                  <a:lnTo>
                    <a:pt x="756" y="315"/>
                  </a:lnTo>
                  <a:lnTo>
                    <a:pt x="762" y="317"/>
                  </a:lnTo>
                  <a:lnTo>
                    <a:pt x="767" y="314"/>
                  </a:lnTo>
                  <a:lnTo>
                    <a:pt x="788" y="314"/>
                  </a:lnTo>
                  <a:lnTo>
                    <a:pt x="794" y="315"/>
                  </a:lnTo>
                  <a:lnTo>
                    <a:pt x="799" y="323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/>
            <a:lstStyle/>
            <a:p>
              <a:pPr algn="ctr"/>
              <a:endParaRPr lang="en-US" sz="800" dirty="0"/>
            </a:p>
          </p:txBody>
        </p: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BB5DC19E-133D-4BBC-ABB8-862B8D8430DE}"/>
                </a:ext>
              </a:extLst>
            </p:cNvPr>
            <p:cNvGrpSpPr/>
            <p:nvPr/>
          </p:nvGrpSpPr>
          <p:grpSpPr>
            <a:xfrm>
              <a:off x="5276850" y="5824538"/>
              <a:ext cx="430212" cy="395287"/>
              <a:chOff x="5276850" y="5824538"/>
              <a:chExt cx="430212" cy="395287"/>
            </a:xfrm>
            <a:grpFill/>
          </p:grpSpPr>
          <p:sp>
            <p:nvSpPr>
              <p:cNvPr id="45" name="Freeform 233">
                <a:extLst>
                  <a:ext uri="{FF2B5EF4-FFF2-40B4-BE49-F238E27FC236}">
                    <a16:creationId xmlns:a16="http://schemas.microsoft.com/office/drawing/2014/main" id="{F180BAE4-365A-4BA3-BA00-779B8195CB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9075" y="5829300"/>
                <a:ext cx="369887" cy="390525"/>
              </a:xfrm>
              <a:custGeom>
                <a:avLst/>
                <a:gdLst>
                  <a:gd name="T0" fmla="*/ 177 w 233"/>
                  <a:gd name="T1" fmla="*/ 238 h 246"/>
                  <a:gd name="T2" fmla="*/ 150 w 233"/>
                  <a:gd name="T3" fmla="*/ 228 h 246"/>
                  <a:gd name="T4" fmla="*/ 126 w 233"/>
                  <a:gd name="T5" fmla="*/ 225 h 246"/>
                  <a:gd name="T6" fmla="*/ 187 w 233"/>
                  <a:gd name="T7" fmla="*/ 223 h 246"/>
                  <a:gd name="T8" fmla="*/ 193 w 233"/>
                  <a:gd name="T9" fmla="*/ 226 h 246"/>
                  <a:gd name="T10" fmla="*/ 142 w 233"/>
                  <a:gd name="T11" fmla="*/ 210 h 246"/>
                  <a:gd name="T12" fmla="*/ 144 w 233"/>
                  <a:gd name="T13" fmla="*/ 218 h 246"/>
                  <a:gd name="T14" fmla="*/ 141 w 233"/>
                  <a:gd name="T15" fmla="*/ 212 h 246"/>
                  <a:gd name="T16" fmla="*/ 155 w 233"/>
                  <a:gd name="T17" fmla="*/ 222 h 246"/>
                  <a:gd name="T18" fmla="*/ 163 w 233"/>
                  <a:gd name="T19" fmla="*/ 222 h 246"/>
                  <a:gd name="T20" fmla="*/ 220 w 233"/>
                  <a:gd name="T21" fmla="*/ 223 h 246"/>
                  <a:gd name="T22" fmla="*/ 217 w 233"/>
                  <a:gd name="T23" fmla="*/ 231 h 246"/>
                  <a:gd name="T24" fmla="*/ 187 w 233"/>
                  <a:gd name="T25" fmla="*/ 236 h 246"/>
                  <a:gd name="T26" fmla="*/ 196 w 233"/>
                  <a:gd name="T27" fmla="*/ 234 h 246"/>
                  <a:gd name="T28" fmla="*/ 198 w 233"/>
                  <a:gd name="T29" fmla="*/ 226 h 246"/>
                  <a:gd name="T30" fmla="*/ 203 w 233"/>
                  <a:gd name="T31" fmla="*/ 212 h 246"/>
                  <a:gd name="T32" fmla="*/ 190 w 233"/>
                  <a:gd name="T33" fmla="*/ 206 h 246"/>
                  <a:gd name="T34" fmla="*/ 212 w 233"/>
                  <a:gd name="T35" fmla="*/ 204 h 246"/>
                  <a:gd name="T36" fmla="*/ 209 w 233"/>
                  <a:gd name="T37" fmla="*/ 198 h 246"/>
                  <a:gd name="T38" fmla="*/ 212 w 233"/>
                  <a:gd name="T39" fmla="*/ 199 h 246"/>
                  <a:gd name="T40" fmla="*/ 69 w 233"/>
                  <a:gd name="T41" fmla="*/ 193 h 246"/>
                  <a:gd name="T42" fmla="*/ 181 w 233"/>
                  <a:gd name="T43" fmla="*/ 187 h 246"/>
                  <a:gd name="T44" fmla="*/ 176 w 233"/>
                  <a:gd name="T45" fmla="*/ 204 h 246"/>
                  <a:gd name="T46" fmla="*/ 176 w 233"/>
                  <a:gd name="T47" fmla="*/ 174 h 246"/>
                  <a:gd name="T48" fmla="*/ 161 w 233"/>
                  <a:gd name="T49" fmla="*/ 96 h 246"/>
                  <a:gd name="T50" fmla="*/ 158 w 233"/>
                  <a:gd name="T51" fmla="*/ 110 h 246"/>
                  <a:gd name="T52" fmla="*/ 145 w 233"/>
                  <a:gd name="T53" fmla="*/ 129 h 246"/>
                  <a:gd name="T54" fmla="*/ 137 w 233"/>
                  <a:gd name="T55" fmla="*/ 132 h 246"/>
                  <a:gd name="T56" fmla="*/ 136 w 233"/>
                  <a:gd name="T57" fmla="*/ 116 h 246"/>
                  <a:gd name="T58" fmla="*/ 139 w 233"/>
                  <a:gd name="T59" fmla="*/ 110 h 246"/>
                  <a:gd name="T60" fmla="*/ 152 w 233"/>
                  <a:gd name="T61" fmla="*/ 96 h 246"/>
                  <a:gd name="T62" fmla="*/ 149 w 233"/>
                  <a:gd name="T63" fmla="*/ 91 h 246"/>
                  <a:gd name="T64" fmla="*/ 176 w 233"/>
                  <a:gd name="T65" fmla="*/ 73 h 246"/>
                  <a:gd name="T66" fmla="*/ 188 w 233"/>
                  <a:gd name="T67" fmla="*/ 67 h 246"/>
                  <a:gd name="T68" fmla="*/ 196 w 233"/>
                  <a:gd name="T69" fmla="*/ 81 h 246"/>
                  <a:gd name="T70" fmla="*/ 181 w 233"/>
                  <a:gd name="T71" fmla="*/ 88 h 246"/>
                  <a:gd name="T72" fmla="*/ 169 w 233"/>
                  <a:gd name="T73" fmla="*/ 102 h 246"/>
                  <a:gd name="T74" fmla="*/ 155 w 233"/>
                  <a:gd name="T75" fmla="*/ 92 h 246"/>
                  <a:gd name="T76" fmla="*/ 152 w 233"/>
                  <a:gd name="T77" fmla="*/ 81 h 246"/>
                  <a:gd name="T78" fmla="*/ 160 w 233"/>
                  <a:gd name="T79" fmla="*/ 67 h 246"/>
                  <a:gd name="T80" fmla="*/ 134 w 233"/>
                  <a:gd name="T81" fmla="*/ 49 h 246"/>
                  <a:gd name="T82" fmla="*/ 3 w 233"/>
                  <a:gd name="T83" fmla="*/ 45 h 246"/>
                  <a:gd name="T84" fmla="*/ 3 w 233"/>
                  <a:gd name="T85" fmla="*/ 45 h 246"/>
                  <a:gd name="T86" fmla="*/ 2 w 233"/>
                  <a:gd name="T87" fmla="*/ 46 h 246"/>
                  <a:gd name="T88" fmla="*/ 214 w 233"/>
                  <a:gd name="T89" fmla="*/ 38 h 246"/>
                  <a:gd name="T90" fmla="*/ 230 w 233"/>
                  <a:gd name="T91" fmla="*/ 3 h 246"/>
                  <a:gd name="T92" fmla="*/ 222 w 233"/>
                  <a:gd name="T93" fmla="*/ 14 h 246"/>
                  <a:gd name="T94" fmla="*/ 204 w 233"/>
                  <a:gd name="T95" fmla="*/ 35 h 246"/>
                  <a:gd name="T96" fmla="*/ 200 w 233"/>
                  <a:gd name="T97" fmla="*/ 41 h 246"/>
                  <a:gd name="T98" fmla="*/ 187 w 233"/>
                  <a:gd name="T99" fmla="*/ 70 h 246"/>
                  <a:gd name="T100" fmla="*/ 174 w 233"/>
                  <a:gd name="T101" fmla="*/ 73 h 246"/>
                  <a:gd name="T102" fmla="*/ 163 w 233"/>
                  <a:gd name="T103" fmla="*/ 64 h 246"/>
                  <a:gd name="T104" fmla="*/ 144 w 233"/>
                  <a:gd name="T105" fmla="*/ 73 h 246"/>
                  <a:gd name="T106" fmla="*/ 153 w 233"/>
                  <a:gd name="T107" fmla="*/ 62 h 246"/>
                  <a:gd name="T108" fmla="*/ 169 w 233"/>
                  <a:gd name="T109" fmla="*/ 40 h 246"/>
                  <a:gd name="T110" fmla="*/ 177 w 233"/>
                  <a:gd name="T111" fmla="*/ 21 h 246"/>
                  <a:gd name="T112" fmla="*/ 201 w 233"/>
                  <a:gd name="T113" fmla="*/ 17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33" h="246">
                    <a:moveTo>
                      <a:pt x="157" y="230"/>
                    </a:moveTo>
                    <a:lnTo>
                      <a:pt x="171" y="233"/>
                    </a:lnTo>
                    <a:lnTo>
                      <a:pt x="176" y="231"/>
                    </a:lnTo>
                    <a:lnTo>
                      <a:pt x="177" y="238"/>
                    </a:lnTo>
                    <a:lnTo>
                      <a:pt x="181" y="233"/>
                    </a:lnTo>
                    <a:lnTo>
                      <a:pt x="184" y="242"/>
                    </a:lnTo>
                    <a:lnTo>
                      <a:pt x="152" y="246"/>
                    </a:lnTo>
                    <a:lnTo>
                      <a:pt x="150" y="228"/>
                    </a:lnTo>
                    <a:lnTo>
                      <a:pt x="153" y="225"/>
                    </a:lnTo>
                    <a:lnTo>
                      <a:pt x="157" y="230"/>
                    </a:lnTo>
                    <a:close/>
                    <a:moveTo>
                      <a:pt x="128" y="223"/>
                    </a:moveTo>
                    <a:lnTo>
                      <a:pt x="126" y="225"/>
                    </a:lnTo>
                    <a:lnTo>
                      <a:pt x="126" y="223"/>
                    </a:lnTo>
                    <a:lnTo>
                      <a:pt x="128" y="223"/>
                    </a:lnTo>
                    <a:close/>
                    <a:moveTo>
                      <a:pt x="190" y="223"/>
                    </a:moveTo>
                    <a:lnTo>
                      <a:pt x="187" y="223"/>
                    </a:lnTo>
                    <a:lnTo>
                      <a:pt x="190" y="220"/>
                    </a:lnTo>
                    <a:lnTo>
                      <a:pt x="190" y="223"/>
                    </a:lnTo>
                    <a:close/>
                    <a:moveTo>
                      <a:pt x="204" y="220"/>
                    </a:moveTo>
                    <a:lnTo>
                      <a:pt x="193" y="226"/>
                    </a:lnTo>
                    <a:lnTo>
                      <a:pt x="195" y="222"/>
                    </a:lnTo>
                    <a:lnTo>
                      <a:pt x="201" y="214"/>
                    </a:lnTo>
                    <a:lnTo>
                      <a:pt x="204" y="220"/>
                    </a:lnTo>
                    <a:close/>
                    <a:moveTo>
                      <a:pt x="142" y="210"/>
                    </a:moveTo>
                    <a:lnTo>
                      <a:pt x="147" y="217"/>
                    </a:lnTo>
                    <a:lnTo>
                      <a:pt x="147" y="226"/>
                    </a:lnTo>
                    <a:lnTo>
                      <a:pt x="145" y="225"/>
                    </a:lnTo>
                    <a:lnTo>
                      <a:pt x="144" y="218"/>
                    </a:lnTo>
                    <a:lnTo>
                      <a:pt x="144" y="223"/>
                    </a:lnTo>
                    <a:lnTo>
                      <a:pt x="144" y="220"/>
                    </a:lnTo>
                    <a:lnTo>
                      <a:pt x="141" y="218"/>
                    </a:lnTo>
                    <a:lnTo>
                      <a:pt x="141" y="212"/>
                    </a:lnTo>
                    <a:lnTo>
                      <a:pt x="142" y="214"/>
                    </a:lnTo>
                    <a:lnTo>
                      <a:pt x="142" y="210"/>
                    </a:lnTo>
                    <a:close/>
                    <a:moveTo>
                      <a:pt x="163" y="222"/>
                    </a:moveTo>
                    <a:lnTo>
                      <a:pt x="155" y="222"/>
                    </a:lnTo>
                    <a:lnTo>
                      <a:pt x="152" y="223"/>
                    </a:lnTo>
                    <a:lnTo>
                      <a:pt x="150" y="217"/>
                    </a:lnTo>
                    <a:lnTo>
                      <a:pt x="161" y="209"/>
                    </a:lnTo>
                    <a:lnTo>
                      <a:pt x="163" y="222"/>
                    </a:lnTo>
                    <a:close/>
                    <a:moveTo>
                      <a:pt x="208" y="209"/>
                    </a:moveTo>
                    <a:lnTo>
                      <a:pt x="212" y="210"/>
                    </a:lnTo>
                    <a:lnTo>
                      <a:pt x="212" y="220"/>
                    </a:lnTo>
                    <a:lnTo>
                      <a:pt x="220" y="223"/>
                    </a:lnTo>
                    <a:lnTo>
                      <a:pt x="220" y="226"/>
                    </a:lnTo>
                    <a:lnTo>
                      <a:pt x="217" y="231"/>
                    </a:lnTo>
                    <a:lnTo>
                      <a:pt x="208" y="233"/>
                    </a:lnTo>
                    <a:lnTo>
                      <a:pt x="217" y="231"/>
                    </a:lnTo>
                    <a:lnTo>
                      <a:pt x="222" y="226"/>
                    </a:lnTo>
                    <a:lnTo>
                      <a:pt x="228" y="236"/>
                    </a:lnTo>
                    <a:lnTo>
                      <a:pt x="187" y="239"/>
                    </a:lnTo>
                    <a:lnTo>
                      <a:pt x="187" y="236"/>
                    </a:lnTo>
                    <a:lnTo>
                      <a:pt x="192" y="226"/>
                    </a:lnTo>
                    <a:lnTo>
                      <a:pt x="195" y="231"/>
                    </a:lnTo>
                    <a:lnTo>
                      <a:pt x="193" y="234"/>
                    </a:lnTo>
                    <a:lnTo>
                      <a:pt x="196" y="234"/>
                    </a:lnTo>
                    <a:lnTo>
                      <a:pt x="192" y="230"/>
                    </a:lnTo>
                    <a:lnTo>
                      <a:pt x="195" y="225"/>
                    </a:lnTo>
                    <a:lnTo>
                      <a:pt x="200" y="225"/>
                    </a:lnTo>
                    <a:lnTo>
                      <a:pt x="198" y="226"/>
                    </a:lnTo>
                    <a:lnTo>
                      <a:pt x="201" y="231"/>
                    </a:lnTo>
                    <a:lnTo>
                      <a:pt x="201" y="223"/>
                    </a:lnTo>
                    <a:lnTo>
                      <a:pt x="204" y="220"/>
                    </a:lnTo>
                    <a:lnTo>
                      <a:pt x="203" y="212"/>
                    </a:lnTo>
                    <a:lnTo>
                      <a:pt x="204" y="209"/>
                    </a:lnTo>
                    <a:lnTo>
                      <a:pt x="208" y="209"/>
                    </a:lnTo>
                    <a:close/>
                    <a:moveTo>
                      <a:pt x="190" y="209"/>
                    </a:moveTo>
                    <a:lnTo>
                      <a:pt x="190" y="206"/>
                    </a:lnTo>
                    <a:lnTo>
                      <a:pt x="190" y="204"/>
                    </a:lnTo>
                    <a:lnTo>
                      <a:pt x="190" y="209"/>
                    </a:lnTo>
                    <a:close/>
                    <a:moveTo>
                      <a:pt x="209" y="198"/>
                    </a:moveTo>
                    <a:lnTo>
                      <a:pt x="212" y="204"/>
                    </a:lnTo>
                    <a:lnTo>
                      <a:pt x="211" y="207"/>
                    </a:lnTo>
                    <a:lnTo>
                      <a:pt x="201" y="206"/>
                    </a:lnTo>
                    <a:lnTo>
                      <a:pt x="201" y="201"/>
                    </a:lnTo>
                    <a:lnTo>
                      <a:pt x="209" y="198"/>
                    </a:lnTo>
                    <a:close/>
                    <a:moveTo>
                      <a:pt x="212" y="199"/>
                    </a:moveTo>
                    <a:lnTo>
                      <a:pt x="209" y="198"/>
                    </a:lnTo>
                    <a:lnTo>
                      <a:pt x="211" y="196"/>
                    </a:lnTo>
                    <a:lnTo>
                      <a:pt x="212" y="199"/>
                    </a:lnTo>
                    <a:close/>
                    <a:moveTo>
                      <a:pt x="69" y="193"/>
                    </a:moveTo>
                    <a:lnTo>
                      <a:pt x="64" y="188"/>
                    </a:lnTo>
                    <a:lnTo>
                      <a:pt x="61" y="185"/>
                    </a:lnTo>
                    <a:lnTo>
                      <a:pt x="69" y="193"/>
                    </a:lnTo>
                    <a:close/>
                    <a:moveTo>
                      <a:pt x="177" y="172"/>
                    </a:moveTo>
                    <a:lnTo>
                      <a:pt x="181" y="174"/>
                    </a:lnTo>
                    <a:lnTo>
                      <a:pt x="177" y="182"/>
                    </a:lnTo>
                    <a:lnTo>
                      <a:pt x="181" y="187"/>
                    </a:lnTo>
                    <a:lnTo>
                      <a:pt x="179" y="201"/>
                    </a:lnTo>
                    <a:lnTo>
                      <a:pt x="184" y="206"/>
                    </a:lnTo>
                    <a:lnTo>
                      <a:pt x="179" y="207"/>
                    </a:lnTo>
                    <a:lnTo>
                      <a:pt x="176" y="204"/>
                    </a:lnTo>
                    <a:lnTo>
                      <a:pt x="174" y="196"/>
                    </a:lnTo>
                    <a:lnTo>
                      <a:pt x="176" y="191"/>
                    </a:lnTo>
                    <a:lnTo>
                      <a:pt x="173" y="187"/>
                    </a:lnTo>
                    <a:lnTo>
                      <a:pt x="176" y="174"/>
                    </a:lnTo>
                    <a:lnTo>
                      <a:pt x="174" y="169"/>
                    </a:lnTo>
                    <a:lnTo>
                      <a:pt x="177" y="172"/>
                    </a:lnTo>
                    <a:close/>
                    <a:moveTo>
                      <a:pt x="149" y="91"/>
                    </a:moveTo>
                    <a:lnTo>
                      <a:pt x="161" y="96"/>
                    </a:lnTo>
                    <a:lnTo>
                      <a:pt x="160" y="107"/>
                    </a:lnTo>
                    <a:lnTo>
                      <a:pt x="165" y="107"/>
                    </a:lnTo>
                    <a:lnTo>
                      <a:pt x="163" y="110"/>
                    </a:lnTo>
                    <a:lnTo>
                      <a:pt x="158" y="110"/>
                    </a:lnTo>
                    <a:lnTo>
                      <a:pt x="150" y="120"/>
                    </a:lnTo>
                    <a:lnTo>
                      <a:pt x="153" y="128"/>
                    </a:lnTo>
                    <a:lnTo>
                      <a:pt x="149" y="126"/>
                    </a:lnTo>
                    <a:lnTo>
                      <a:pt x="145" y="129"/>
                    </a:lnTo>
                    <a:lnTo>
                      <a:pt x="153" y="135"/>
                    </a:lnTo>
                    <a:lnTo>
                      <a:pt x="147" y="132"/>
                    </a:lnTo>
                    <a:lnTo>
                      <a:pt x="144" y="134"/>
                    </a:lnTo>
                    <a:lnTo>
                      <a:pt x="137" y="132"/>
                    </a:lnTo>
                    <a:lnTo>
                      <a:pt x="137" y="129"/>
                    </a:lnTo>
                    <a:lnTo>
                      <a:pt x="129" y="123"/>
                    </a:lnTo>
                    <a:lnTo>
                      <a:pt x="137" y="118"/>
                    </a:lnTo>
                    <a:lnTo>
                      <a:pt x="136" y="116"/>
                    </a:lnTo>
                    <a:lnTo>
                      <a:pt x="129" y="116"/>
                    </a:lnTo>
                    <a:lnTo>
                      <a:pt x="129" y="112"/>
                    </a:lnTo>
                    <a:lnTo>
                      <a:pt x="134" y="108"/>
                    </a:lnTo>
                    <a:lnTo>
                      <a:pt x="139" y="110"/>
                    </a:lnTo>
                    <a:lnTo>
                      <a:pt x="137" y="104"/>
                    </a:lnTo>
                    <a:lnTo>
                      <a:pt x="144" y="105"/>
                    </a:lnTo>
                    <a:lnTo>
                      <a:pt x="149" y="102"/>
                    </a:lnTo>
                    <a:lnTo>
                      <a:pt x="152" y="96"/>
                    </a:lnTo>
                    <a:lnTo>
                      <a:pt x="150" y="92"/>
                    </a:lnTo>
                    <a:lnTo>
                      <a:pt x="145" y="92"/>
                    </a:lnTo>
                    <a:lnTo>
                      <a:pt x="145" y="89"/>
                    </a:lnTo>
                    <a:lnTo>
                      <a:pt x="149" y="91"/>
                    </a:lnTo>
                    <a:close/>
                    <a:moveTo>
                      <a:pt x="166" y="72"/>
                    </a:moveTo>
                    <a:lnTo>
                      <a:pt x="169" y="72"/>
                    </a:lnTo>
                    <a:lnTo>
                      <a:pt x="173" y="65"/>
                    </a:lnTo>
                    <a:lnTo>
                      <a:pt x="176" y="73"/>
                    </a:lnTo>
                    <a:lnTo>
                      <a:pt x="179" y="67"/>
                    </a:lnTo>
                    <a:lnTo>
                      <a:pt x="184" y="68"/>
                    </a:lnTo>
                    <a:lnTo>
                      <a:pt x="185" y="72"/>
                    </a:lnTo>
                    <a:lnTo>
                      <a:pt x="188" y="67"/>
                    </a:lnTo>
                    <a:lnTo>
                      <a:pt x="200" y="68"/>
                    </a:lnTo>
                    <a:lnTo>
                      <a:pt x="198" y="72"/>
                    </a:lnTo>
                    <a:lnTo>
                      <a:pt x="190" y="75"/>
                    </a:lnTo>
                    <a:lnTo>
                      <a:pt x="196" y="81"/>
                    </a:lnTo>
                    <a:lnTo>
                      <a:pt x="187" y="86"/>
                    </a:lnTo>
                    <a:lnTo>
                      <a:pt x="184" y="94"/>
                    </a:lnTo>
                    <a:lnTo>
                      <a:pt x="182" y="94"/>
                    </a:lnTo>
                    <a:lnTo>
                      <a:pt x="181" y="88"/>
                    </a:lnTo>
                    <a:lnTo>
                      <a:pt x="177" y="88"/>
                    </a:lnTo>
                    <a:lnTo>
                      <a:pt x="181" y="104"/>
                    </a:lnTo>
                    <a:lnTo>
                      <a:pt x="176" y="107"/>
                    </a:lnTo>
                    <a:lnTo>
                      <a:pt x="169" y="102"/>
                    </a:lnTo>
                    <a:lnTo>
                      <a:pt x="166" y="105"/>
                    </a:lnTo>
                    <a:lnTo>
                      <a:pt x="160" y="107"/>
                    </a:lnTo>
                    <a:lnTo>
                      <a:pt x="163" y="96"/>
                    </a:lnTo>
                    <a:lnTo>
                      <a:pt x="155" y="92"/>
                    </a:lnTo>
                    <a:lnTo>
                      <a:pt x="161" y="88"/>
                    </a:lnTo>
                    <a:lnTo>
                      <a:pt x="161" y="84"/>
                    </a:lnTo>
                    <a:lnTo>
                      <a:pt x="160" y="81"/>
                    </a:lnTo>
                    <a:lnTo>
                      <a:pt x="152" y="81"/>
                    </a:lnTo>
                    <a:lnTo>
                      <a:pt x="150" y="80"/>
                    </a:lnTo>
                    <a:lnTo>
                      <a:pt x="150" y="75"/>
                    </a:lnTo>
                    <a:lnTo>
                      <a:pt x="161" y="72"/>
                    </a:lnTo>
                    <a:lnTo>
                      <a:pt x="160" y="67"/>
                    </a:lnTo>
                    <a:lnTo>
                      <a:pt x="163" y="65"/>
                    </a:lnTo>
                    <a:lnTo>
                      <a:pt x="169" y="65"/>
                    </a:lnTo>
                    <a:lnTo>
                      <a:pt x="166" y="72"/>
                    </a:lnTo>
                    <a:close/>
                    <a:moveTo>
                      <a:pt x="134" y="49"/>
                    </a:moveTo>
                    <a:lnTo>
                      <a:pt x="133" y="49"/>
                    </a:lnTo>
                    <a:lnTo>
                      <a:pt x="131" y="48"/>
                    </a:lnTo>
                    <a:lnTo>
                      <a:pt x="134" y="49"/>
                    </a:lnTo>
                    <a:close/>
                    <a:moveTo>
                      <a:pt x="3" y="45"/>
                    </a:moveTo>
                    <a:lnTo>
                      <a:pt x="7" y="46"/>
                    </a:lnTo>
                    <a:lnTo>
                      <a:pt x="5" y="49"/>
                    </a:lnTo>
                    <a:lnTo>
                      <a:pt x="3" y="48"/>
                    </a:lnTo>
                    <a:lnTo>
                      <a:pt x="3" y="45"/>
                    </a:lnTo>
                    <a:close/>
                    <a:moveTo>
                      <a:pt x="2" y="46"/>
                    </a:moveTo>
                    <a:lnTo>
                      <a:pt x="0" y="45"/>
                    </a:lnTo>
                    <a:lnTo>
                      <a:pt x="2" y="43"/>
                    </a:lnTo>
                    <a:lnTo>
                      <a:pt x="2" y="46"/>
                    </a:lnTo>
                    <a:close/>
                    <a:moveTo>
                      <a:pt x="214" y="38"/>
                    </a:moveTo>
                    <a:lnTo>
                      <a:pt x="216" y="33"/>
                    </a:lnTo>
                    <a:lnTo>
                      <a:pt x="216" y="38"/>
                    </a:lnTo>
                    <a:lnTo>
                      <a:pt x="214" y="38"/>
                    </a:lnTo>
                    <a:close/>
                    <a:moveTo>
                      <a:pt x="230" y="3"/>
                    </a:moveTo>
                    <a:lnTo>
                      <a:pt x="233" y="0"/>
                    </a:lnTo>
                    <a:lnTo>
                      <a:pt x="232" y="1"/>
                    </a:lnTo>
                    <a:lnTo>
                      <a:pt x="230" y="3"/>
                    </a:lnTo>
                    <a:close/>
                    <a:moveTo>
                      <a:pt x="211" y="0"/>
                    </a:moveTo>
                    <a:lnTo>
                      <a:pt x="227" y="3"/>
                    </a:lnTo>
                    <a:lnTo>
                      <a:pt x="227" y="11"/>
                    </a:lnTo>
                    <a:lnTo>
                      <a:pt x="222" y="14"/>
                    </a:lnTo>
                    <a:lnTo>
                      <a:pt x="212" y="16"/>
                    </a:lnTo>
                    <a:lnTo>
                      <a:pt x="203" y="29"/>
                    </a:lnTo>
                    <a:lnTo>
                      <a:pt x="201" y="32"/>
                    </a:lnTo>
                    <a:lnTo>
                      <a:pt x="204" y="35"/>
                    </a:lnTo>
                    <a:lnTo>
                      <a:pt x="214" y="35"/>
                    </a:lnTo>
                    <a:lnTo>
                      <a:pt x="209" y="41"/>
                    </a:lnTo>
                    <a:lnTo>
                      <a:pt x="203" y="40"/>
                    </a:lnTo>
                    <a:lnTo>
                      <a:pt x="200" y="41"/>
                    </a:lnTo>
                    <a:lnTo>
                      <a:pt x="203" y="49"/>
                    </a:lnTo>
                    <a:lnTo>
                      <a:pt x="201" y="54"/>
                    </a:lnTo>
                    <a:lnTo>
                      <a:pt x="185" y="54"/>
                    </a:lnTo>
                    <a:lnTo>
                      <a:pt x="187" y="70"/>
                    </a:lnTo>
                    <a:lnTo>
                      <a:pt x="185" y="72"/>
                    </a:lnTo>
                    <a:lnTo>
                      <a:pt x="185" y="67"/>
                    </a:lnTo>
                    <a:lnTo>
                      <a:pt x="179" y="67"/>
                    </a:lnTo>
                    <a:lnTo>
                      <a:pt x="174" y="73"/>
                    </a:lnTo>
                    <a:lnTo>
                      <a:pt x="174" y="65"/>
                    </a:lnTo>
                    <a:lnTo>
                      <a:pt x="168" y="72"/>
                    </a:lnTo>
                    <a:lnTo>
                      <a:pt x="169" y="65"/>
                    </a:lnTo>
                    <a:lnTo>
                      <a:pt x="163" y="64"/>
                    </a:lnTo>
                    <a:lnTo>
                      <a:pt x="160" y="67"/>
                    </a:lnTo>
                    <a:lnTo>
                      <a:pt x="160" y="73"/>
                    </a:lnTo>
                    <a:lnTo>
                      <a:pt x="150" y="75"/>
                    </a:lnTo>
                    <a:lnTo>
                      <a:pt x="144" y="73"/>
                    </a:lnTo>
                    <a:lnTo>
                      <a:pt x="147" y="68"/>
                    </a:lnTo>
                    <a:lnTo>
                      <a:pt x="158" y="70"/>
                    </a:lnTo>
                    <a:lnTo>
                      <a:pt x="152" y="65"/>
                    </a:lnTo>
                    <a:lnTo>
                      <a:pt x="153" y="62"/>
                    </a:lnTo>
                    <a:lnTo>
                      <a:pt x="161" y="57"/>
                    </a:lnTo>
                    <a:lnTo>
                      <a:pt x="160" y="46"/>
                    </a:lnTo>
                    <a:lnTo>
                      <a:pt x="169" y="46"/>
                    </a:lnTo>
                    <a:lnTo>
                      <a:pt x="169" y="40"/>
                    </a:lnTo>
                    <a:lnTo>
                      <a:pt x="174" y="40"/>
                    </a:lnTo>
                    <a:lnTo>
                      <a:pt x="179" y="35"/>
                    </a:lnTo>
                    <a:lnTo>
                      <a:pt x="181" y="30"/>
                    </a:lnTo>
                    <a:lnTo>
                      <a:pt x="177" y="21"/>
                    </a:lnTo>
                    <a:lnTo>
                      <a:pt x="184" y="17"/>
                    </a:lnTo>
                    <a:lnTo>
                      <a:pt x="190" y="21"/>
                    </a:lnTo>
                    <a:lnTo>
                      <a:pt x="198" y="19"/>
                    </a:lnTo>
                    <a:lnTo>
                      <a:pt x="201" y="17"/>
                    </a:lnTo>
                    <a:lnTo>
                      <a:pt x="198" y="8"/>
                    </a:lnTo>
                    <a:lnTo>
                      <a:pt x="206" y="5"/>
                    </a:lnTo>
                    <a:lnTo>
                      <a:pt x="211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pPr algn="ctr"/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Freeform 234">
                <a:extLst>
                  <a:ext uri="{FF2B5EF4-FFF2-40B4-BE49-F238E27FC236}">
                    <a16:creationId xmlns:a16="http://schemas.microsoft.com/office/drawing/2014/main" id="{B35DCE61-BBF4-4276-A016-1027FF949A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76850" y="5824538"/>
                <a:ext cx="430212" cy="387350"/>
              </a:xfrm>
              <a:custGeom>
                <a:avLst/>
                <a:gdLst>
                  <a:gd name="T0" fmla="*/ 45 w 271"/>
                  <a:gd name="T1" fmla="*/ 134 h 244"/>
                  <a:gd name="T2" fmla="*/ 40 w 271"/>
                  <a:gd name="T3" fmla="*/ 118 h 244"/>
                  <a:gd name="T4" fmla="*/ 89 w 271"/>
                  <a:gd name="T5" fmla="*/ 124 h 244"/>
                  <a:gd name="T6" fmla="*/ 137 w 271"/>
                  <a:gd name="T7" fmla="*/ 178 h 244"/>
                  <a:gd name="T8" fmla="*/ 153 w 271"/>
                  <a:gd name="T9" fmla="*/ 174 h 244"/>
                  <a:gd name="T10" fmla="*/ 112 w 271"/>
                  <a:gd name="T11" fmla="*/ 213 h 244"/>
                  <a:gd name="T12" fmla="*/ 121 w 271"/>
                  <a:gd name="T13" fmla="*/ 204 h 244"/>
                  <a:gd name="T14" fmla="*/ 113 w 271"/>
                  <a:gd name="T15" fmla="*/ 198 h 244"/>
                  <a:gd name="T16" fmla="*/ 112 w 271"/>
                  <a:gd name="T17" fmla="*/ 209 h 244"/>
                  <a:gd name="T18" fmla="*/ 96 w 271"/>
                  <a:gd name="T19" fmla="*/ 202 h 244"/>
                  <a:gd name="T20" fmla="*/ 100 w 271"/>
                  <a:gd name="T21" fmla="*/ 191 h 244"/>
                  <a:gd name="T22" fmla="*/ 96 w 271"/>
                  <a:gd name="T23" fmla="*/ 204 h 244"/>
                  <a:gd name="T24" fmla="*/ 92 w 271"/>
                  <a:gd name="T25" fmla="*/ 185 h 244"/>
                  <a:gd name="T26" fmla="*/ 84 w 271"/>
                  <a:gd name="T27" fmla="*/ 183 h 244"/>
                  <a:gd name="T28" fmla="*/ 84 w 271"/>
                  <a:gd name="T29" fmla="*/ 175 h 244"/>
                  <a:gd name="T30" fmla="*/ 92 w 271"/>
                  <a:gd name="T31" fmla="*/ 167 h 244"/>
                  <a:gd name="T32" fmla="*/ 97 w 271"/>
                  <a:gd name="T33" fmla="*/ 150 h 244"/>
                  <a:gd name="T34" fmla="*/ 72 w 271"/>
                  <a:gd name="T35" fmla="*/ 183 h 244"/>
                  <a:gd name="T36" fmla="*/ 84 w 271"/>
                  <a:gd name="T37" fmla="*/ 138 h 244"/>
                  <a:gd name="T38" fmla="*/ 94 w 271"/>
                  <a:gd name="T39" fmla="*/ 123 h 244"/>
                  <a:gd name="T40" fmla="*/ 62 w 271"/>
                  <a:gd name="T41" fmla="*/ 113 h 244"/>
                  <a:gd name="T42" fmla="*/ 65 w 271"/>
                  <a:gd name="T43" fmla="*/ 105 h 244"/>
                  <a:gd name="T44" fmla="*/ 40 w 271"/>
                  <a:gd name="T45" fmla="*/ 105 h 244"/>
                  <a:gd name="T46" fmla="*/ 29 w 271"/>
                  <a:gd name="T47" fmla="*/ 56 h 244"/>
                  <a:gd name="T48" fmla="*/ 96 w 271"/>
                  <a:gd name="T49" fmla="*/ 57 h 244"/>
                  <a:gd name="T50" fmla="*/ 129 w 271"/>
                  <a:gd name="T51" fmla="*/ 38 h 244"/>
                  <a:gd name="T52" fmla="*/ 188 w 271"/>
                  <a:gd name="T53" fmla="*/ 43 h 244"/>
                  <a:gd name="T54" fmla="*/ 158 w 271"/>
                  <a:gd name="T55" fmla="*/ 75 h 244"/>
                  <a:gd name="T56" fmla="*/ 166 w 271"/>
                  <a:gd name="T57" fmla="*/ 99 h 244"/>
                  <a:gd name="T58" fmla="*/ 143 w 271"/>
                  <a:gd name="T59" fmla="*/ 124 h 244"/>
                  <a:gd name="T60" fmla="*/ 139 w 271"/>
                  <a:gd name="T61" fmla="*/ 169 h 244"/>
                  <a:gd name="T62" fmla="*/ 234 w 271"/>
                  <a:gd name="T63" fmla="*/ 225 h 244"/>
                  <a:gd name="T64" fmla="*/ 222 w 271"/>
                  <a:gd name="T65" fmla="*/ 183 h 244"/>
                  <a:gd name="T66" fmla="*/ 214 w 271"/>
                  <a:gd name="T67" fmla="*/ 201 h 244"/>
                  <a:gd name="T68" fmla="*/ 207 w 271"/>
                  <a:gd name="T69" fmla="*/ 191 h 244"/>
                  <a:gd name="T70" fmla="*/ 206 w 271"/>
                  <a:gd name="T71" fmla="*/ 177 h 244"/>
                  <a:gd name="T72" fmla="*/ 199 w 271"/>
                  <a:gd name="T73" fmla="*/ 198 h 244"/>
                  <a:gd name="T74" fmla="*/ 191 w 271"/>
                  <a:gd name="T75" fmla="*/ 185 h 244"/>
                  <a:gd name="T76" fmla="*/ 202 w 271"/>
                  <a:gd name="T77" fmla="*/ 153 h 244"/>
                  <a:gd name="T78" fmla="*/ 204 w 271"/>
                  <a:gd name="T79" fmla="*/ 89 h 244"/>
                  <a:gd name="T80" fmla="*/ 212 w 271"/>
                  <a:gd name="T81" fmla="*/ 59 h 244"/>
                  <a:gd name="T82" fmla="*/ 239 w 271"/>
                  <a:gd name="T83" fmla="*/ 17 h 244"/>
                  <a:gd name="T84" fmla="*/ 250 w 271"/>
                  <a:gd name="T85" fmla="*/ 64 h 244"/>
                  <a:gd name="T86" fmla="*/ 233 w 271"/>
                  <a:gd name="T87" fmla="*/ 100 h 244"/>
                  <a:gd name="T88" fmla="*/ 271 w 271"/>
                  <a:gd name="T89" fmla="*/ 143 h 244"/>
                  <a:gd name="T90" fmla="*/ 247 w 271"/>
                  <a:gd name="T91" fmla="*/ 229 h 244"/>
                  <a:gd name="T92" fmla="*/ 193 w 271"/>
                  <a:gd name="T93" fmla="*/ 228 h 244"/>
                  <a:gd name="T94" fmla="*/ 172 w 271"/>
                  <a:gd name="T95" fmla="*/ 234 h 244"/>
                  <a:gd name="T96" fmla="*/ 182 w 271"/>
                  <a:gd name="T97" fmla="*/ 207 h 244"/>
                  <a:gd name="T98" fmla="*/ 166 w 271"/>
                  <a:gd name="T99" fmla="*/ 209 h 244"/>
                  <a:gd name="T100" fmla="*/ 166 w 271"/>
                  <a:gd name="T101" fmla="*/ 194 h 244"/>
                  <a:gd name="T102" fmla="*/ 159 w 271"/>
                  <a:gd name="T103" fmla="*/ 202 h 244"/>
                  <a:gd name="T104" fmla="*/ 167 w 271"/>
                  <a:gd name="T105" fmla="*/ 138 h 244"/>
                  <a:gd name="T106" fmla="*/ 188 w 271"/>
                  <a:gd name="T107" fmla="*/ 110 h 244"/>
                  <a:gd name="T108" fmla="*/ 206 w 271"/>
                  <a:gd name="T109" fmla="*/ 108 h 244"/>
                  <a:gd name="T110" fmla="*/ 188 w 271"/>
                  <a:gd name="T111" fmla="*/ 167 h 244"/>
                  <a:gd name="T112" fmla="*/ 196 w 271"/>
                  <a:gd name="T113" fmla="*/ 220 h 244"/>
                  <a:gd name="T114" fmla="*/ 140 w 271"/>
                  <a:gd name="T115" fmla="*/ 231 h 244"/>
                  <a:gd name="T116" fmla="*/ 155 w 271"/>
                  <a:gd name="T117" fmla="*/ 177 h 244"/>
                  <a:gd name="T118" fmla="*/ 163 w 271"/>
                  <a:gd name="T119" fmla="*/ 182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71" h="244">
                    <a:moveTo>
                      <a:pt x="67" y="153"/>
                    </a:moveTo>
                    <a:lnTo>
                      <a:pt x="59" y="148"/>
                    </a:lnTo>
                    <a:lnTo>
                      <a:pt x="46" y="148"/>
                    </a:lnTo>
                    <a:lnTo>
                      <a:pt x="45" y="143"/>
                    </a:lnTo>
                    <a:lnTo>
                      <a:pt x="51" y="137"/>
                    </a:lnTo>
                    <a:lnTo>
                      <a:pt x="56" y="140"/>
                    </a:lnTo>
                    <a:lnTo>
                      <a:pt x="51" y="137"/>
                    </a:lnTo>
                    <a:lnTo>
                      <a:pt x="49" y="140"/>
                    </a:lnTo>
                    <a:lnTo>
                      <a:pt x="48" y="140"/>
                    </a:lnTo>
                    <a:lnTo>
                      <a:pt x="45" y="134"/>
                    </a:lnTo>
                    <a:lnTo>
                      <a:pt x="45" y="135"/>
                    </a:lnTo>
                    <a:lnTo>
                      <a:pt x="48" y="140"/>
                    </a:lnTo>
                    <a:lnTo>
                      <a:pt x="45" y="142"/>
                    </a:lnTo>
                    <a:lnTo>
                      <a:pt x="35" y="134"/>
                    </a:lnTo>
                    <a:lnTo>
                      <a:pt x="35" y="129"/>
                    </a:lnTo>
                    <a:lnTo>
                      <a:pt x="19" y="103"/>
                    </a:lnTo>
                    <a:lnTo>
                      <a:pt x="17" y="95"/>
                    </a:lnTo>
                    <a:lnTo>
                      <a:pt x="25" y="113"/>
                    </a:lnTo>
                    <a:lnTo>
                      <a:pt x="33" y="119"/>
                    </a:lnTo>
                    <a:lnTo>
                      <a:pt x="40" y="118"/>
                    </a:lnTo>
                    <a:lnTo>
                      <a:pt x="46" y="123"/>
                    </a:lnTo>
                    <a:lnTo>
                      <a:pt x="54" y="119"/>
                    </a:lnTo>
                    <a:lnTo>
                      <a:pt x="54" y="124"/>
                    </a:lnTo>
                    <a:lnTo>
                      <a:pt x="59" y="121"/>
                    </a:lnTo>
                    <a:lnTo>
                      <a:pt x="68" y="124"/>
                    </a:lnTo>
                    <a:lnTo>
                      <a:pt x="65" y="127"/>
                    </a:lnTo>
                    <a:lnTo>
                      <a:pt x="72" y="129"/>
                    </a:lnTo>
                    <a:lnTo>
                      <a:pt x="75" y="121"/>
                    </a:lnTo>
                    <a:lnTo>
                      <a:pt x="84" y="126"/>
                    </a:lnTo>
                    <a:lnTo>
                      <a:pt x="89" y="124"/>
                    </a:lnTo>
                    <a:lnTo>
                      <a:pt x="91" y="121"/>
                    </a:lnTo>
                    <a:lnTo>
                      <a:pt x="94" y="123"/>
                    </a:lnTo>
                    <a:lnTo>
                      <a:pt x="84" y="137"/>
                    </a:lnTo>
                    <a:lnTo>
                      <a:pt x="67" y="153"/>
                    </a:lnTo>
                    <a:close/>
                    <a:moveTo>
                      <a:pt x="137" y="223"/>
                    </a:moveTo>
                    <a:lnTo>
                      <a:pt x="134" y="218"/>
                    </a:lnTo>
                    <a:lnTo>
                      <a:pt x="135" y="207"/>
                    </a:lnTo>
                    <a:lnTo>
                      <a:pt x="126" y="199"/>
                    </a:lnTo>
                    <a:lnTo>
                      <a:pt x="131" y="185"/>
                    </a:lnTo>
                    <a:lnTo>
                      <a:pt x="137" y="178"/>
                    </a:lnTo>
                    <a:lnTo>
                      <a:pt x="134" y="174"/>
                    </a:lnTo>
                    <a:lnTo>
                      <a:pt x="139" y="169"/>
                    </a:lnTo>
                    <a:lnTo>
                      <a:pt x="135" y="166"/>
                    </a:lnTo>
                    <a:lnTo>
                      <a:pt x="137" y="161"/>
                    </a:lnTo>
                    <a:lnTo>
                      <a:pt x="147" y="154"/>
                    </a:lnTo>
                    <a:lnTo>
                      <a:pt x="148" y="151"/>
                    </a:lnTo>
                    <a:lnTo>
                      <a:pt x="153" y="151"/>
                    </a:lnTo>
                    <a:lnTo>
                      <a:pt x="155" y="159"/>
                    </a:lnTo>
                    <a:lnTo>
                      <a:pt x="151" y="169"/>
                    </a:lnTo>
                    <a:lnTo>
                      <a:pt x="153" y="174"/>
                    </a:lnTo>
                    <a:lnTo>
                      <a:pt x="156" y="175"/>
                    </a:lnTo>
                    <a:lnTo>
                      <a:pt x="153" y="182"/>
                    </a:lnTo>
                    <a:lnTo>
                      <a:pt x="148" y="183"/>
                    </a:lnTo>
                    <a:lnTo>
                      <a:pt x="147" y="188"/>
                    </a:lnTo>
                    <a:lnTo>
                      <a:pt x="142" y="191"/>
                    </a:lnTo>
                    <a:lnTo>
                      <a:pt x="145" y="201"/>
                    </a:lnTo>
                    <a:lnTo>
                      <a:pt x="137" y="223"/>
                    </a:lnTo>
                    <a:close/>
                    <a:moveTo>
                      <a:pt x="137" y="233"/>
                    </a:moveTo>
                    <a:lnTo>
                      <a:pt x="110" y="217"/>
                    </a:lnTo>
                    <a:lnTo>
                      <a:pt x="112" y="213"/>
                    </a:lnTo>
                    <a:lnTo>
                      <a:pt x="115" y="217"/>
                    </a:lnTo>
                    <a:lnTo>
                      <a:pt x="118" y="213"/>
                    </a:lnTo>
                    <a:lnTo>
                      <a:pt x="120" y="215"/>
                    </a:lnTo>
                    <a:lnTo>
                      <a:pt x="118" y="213"/>
                    </a:lnTo>
                    <a:lnTo>
                      <a:pt x="115" y="217"/>
                    </a:lnTo>
                    <a:lnTo>
                      <a:pt x="113" y="215"/>
                    </a:lnTo>
                    <a:lnTo>
                      <a:pt x="115" y="213"/>
                    </a:lnTo>
                    <a:lnTo>
                      <a:pt x="110" y="213"/>
                    </a:lnTo>
                    <a:lnTo>
                      <a:pt x="108" y="212"/>
                    </a:lnTo>
                    <a:lnTo>
                      <a:pt x="121" y="204"/>
                    </a:lnTo>
                    <a:lnTo>
                      <a:pt x="124" y="206"/>
                    </a:lnTo>
                    <a:lnTo>
                      <a:pt x="123" y="202"/>
                    </a:lnTo>
                    <a:lnTo>
                      <a:pt x="120" y="202"/>
                    </a:lnTo>
                    <a:lnTo>
                      <a:pt x="120" y="199"/>
                    </a:lnTo>
                    <a:lnTo>
                      <a:pt x="120" y="202"/>
                    </a:lnTo>
                    <a:lnTo>
                      <a:pt x="124" y="204"/>
                    </a:lnTo>
                    <a:lnTo>
                      <a:pt x="118" y="206"/>
                    </a:lnTo>
                    <a:lnTo>
                      <a:pt x="115" y="202"/>
                    </a:lnTo>
                    <a:lnTo>
                      <a:pt x="118" y="201"/>
                    </a:lnTo>
                    <a:lnTo>
                      <a:pt x="113" y="198"/>
                    </a:lnTo>
                    <a:lnTo>
                      <a:pt x="116" y="198"/>
                    </a:lnTo>
                    <a:lnTo>
                      <a:pt x="120" y="194"/>
                    </a:lnTo>
                    <a:lnTo>
                      <a:pt x="116" y="198"/>
                    </a:lnTo>
                    <a:lnTo>
                      <a:pt x="113" y="198"/>
                    </a:lnTo>
                    <a:lnTo>
                      <a:pt x="118" y="201"/>
                    </a:lnTo>
                    <a:lnTo>
                      <a:pt x="113" y="202"/>
                    </a:lnTo>
                    <a:lnTo>
                      <a:pt x="118" y="206"/>
                    </a:lnTo>
                    <a:lnTo>
                      <a:pt x="113" y="209"/>
                    </a:lnTo>
                    <a:lnTo>
                      <a:pt x="110" y="207"/>
                    </a:lnTo>
                    <a:lnTo>
                      <a:pt x="112" y="209"/>
                    </a:lnTo>
                    <a:lnTo>
                      <a:pt x="105" y="210"/>
                    </a:lnTo>
                    <a:lnTo>
                      <a:pt x="108" y="213"/>
                    </a:lnTo>
                    <a:lnTo>
                      <a:pt x="97" y="206"/>
                    </a:lnTo>
                    <a:lnTo>
                      <a:pt x="105" y="199"/>
                    </a:lnTo>
                    <a:lnTo>
                      <a:pt x="108" y="190"/>
                    </a:lnTo>
                    <a:lnTo>
                      <a:pt x="115" y="186"/>
                    </a:lnTo>
                    <a:lnTo>
                      <a:pt x="108" y="190"/>
                    </a:lnTo>
                    <a:lnTo>
                      <a:pt x="104" y="199"/>
                    </a:lnTo>
                    <a:lnTo>
                      <a:pt x="97" y="204"/>
                    </a:lnTo>
                    <a:lnTo>
                      <a:pt x="96" y="202"/>
                    </a:lnTo>
                    <a:lnTo>
                      <a:pt x="99" y="201"/>
                    </a:lnTo>
                    <a:lnTo>
                      <a:pt x="96" y="198"/>
                    </a:lnTo>
                    <a:lnTo>
                      <a:pt x="99" y="198"/>
                    </a:lnTo>
                    <a:lnTo>
                      <a:pt x="97" y="194"/>
                    </a:lnTo>
                    <a:lnTo>
                      <a:pt x="99" y="196"/>
                    </a:lnTo>
                    <a:lnTo>
                      <a:pt x="99" y="193"/>
                    </a:lnTo>
                    <a:lnTo>
                      <a:pt x="102" y="193"/>
                    </a:lnTo>
                    <a:lnTo>
                      <a:pt x="100" y="191"/>
                    </a:lnTo>
                    <a:lnTo>
                      <a:pt x="105" y="185"/>
                    </a:lnTo>
                    <a:lnTo>
                      <a:pt x="100" y="191"/>
                    </a:lnTo>
                    <a:lnTo>
                      <a:pt x="102" y="193"/>
                    </a:lnTo>
                    <a:lnTo>
                      <a:pt x="99" y="193"/>
                    </a:lnTo>
                    <a:lnTo>
                      <a:pt x="100" y="194"/>
                    </a:lnTo>
                    <a:lnTo>
                      <a:pt x="97" y="194"/>
                    </a:lnTo>
                    <a:lnTo>
                      <a:pt x="99" y="198"/>
                    </a:lnTo>
                    <a:lnTo>
                      <a:pt x="96" y="198"/>
                    </a:lnTo>
                    <a:lnTo>
                      <a:pt x="99" y="201"/>
                    </a:lnTo>
                    <a:lnTo>
                      <a:pt x="94" y="202"/>
                    </a:lnTo>
                    <a:lnTo>
                      <a:pt x="88" y="199"/>
                    </a:lnTo>
                    <a:lnTo>
                      <a:pt x="96" y="204"/>
                    </a:lnTo>
                    <a:lnTo>
                      <a:pt x="81" y="193"/>
                    </a:lnTo>
                    <a:lnTo>
                      <a:pt x="100" y="185"/>
                    </a:lnTo>
                    <a:lnTo>
                      <a:pt x="104" y="182"/>
                    </a:lnTo>
                    <a:lnTo>
                      <a:pt x="102" y="174"/>
                    </a:lnTo>
                    <a:lnTo>
                      <a:pt x="105" y="167"/>
                    </a:lnTo>
                    <a:lnTo>
                      <a:pt x="102" y="174"/>
                    </a:lnTo>
                    <a:lnTo>
                      <a:pt x="102" y="182"/>
                    </a:lnTo>
                    <a:lnTo>
                      <a:pt x="99" y="186"/>
                    </a:lnTo>
                    <a:lnTo>
                      <a:pt x="94" y="186"/>
                    </a:lnTo>
                    <a:lnTo>
                      <a:pt x="92" y="185"/>
                    </a:lnTo>
                    <a:lnTo>
                      <a:pt x="96" y="182"/>
                    </a:lnTo>
                    <a:lnTo>
                      <a:pt x="92" y="180"/>
                    </a:lnTo>
                    <a:lnTo>
                      <a:pt x="96" y="182"/>
                    </a:lnTo>
                    <a:lnTo>
                      <a:pt x="92" y="185"/>
                    </a:lnTo>
                    <a:lnTo>
                      <a:pt x="92" y="186"/>
                    </a:lnTo>
                    <a:lnTo>
                      <a:pt x="83" y="191"/>
                    </a:lnTo>
                    <a:lnTo>
                      <a:pt x="72" y="186"/>
                    </a:lnTo>
                    <a:lnTo>
                      <a:pt x="78" y="183"/>
                    </a:lnTo>
                    <a:lnTo>
                      <a:pt x="84" y="185"/>
                    </a:lnTo>
                    <a:lnTo>
                      <a:pt x="84" y="183"/>
                    </a:lnTo>
                    <a:lnTo>
                      <a:pt x="81" y="185"/>
                    </a:lnTo>
                    <a:lnTo>
                      <a:pt x="78" y="183"/>
                    </a:lnTo>
                    <a:lnTo>
                      <a:pt x="76" y="185"/>
                    </a:lnTo>
                    <a:lnTo>
                      <a:pt x="75" y="177"/>
                    </a:lnTo>
                    <a:lnTo>
                      <a:pt x="83" y="174"/>
                    </a:lnTo>
                    <a:lnTo>
                      <a:pt x="84" y="175"/>
                    </a:lnTo>
                    <a:lnTo>
                      <a:pt x="86" y="174"/>
                    </a:lnTo>
                    <a:lnTo>
                      <a:pt x="89" y="174"/>
                    </a:lnTo>
                    <a:lnTo>
                      <a:pt x="86" y="172"/>
                    </a:lnTo>
                    <a:lnTo>
                      <a:pt x="84" y="175"/>
                    </a:lnTo>
                    <a:lnTo>
                      <a:pt x="83" y="172"/>
                    </a:lnTo>
                    <a:lnTo>
                      <a:pt x="75" y="177"/>
                    </a:lnTo>
                    <a:lnTo>
                      <a:pt x="72" y="174"/>
                    </a:lnTo>
                    <a:lnTo>
                      <a:pt x="76" y="174"/>
                    </a:lnTo>
                    <a:lnTo>
                      <a:pt x="76" y="167"/>
                    </a:lnTo>
                    <a:lnTo>
                      <a:pt x="83" y="162"/>
                    </a:lnTo>
                    <a:lnTo>
                      <a:pt x="84" y="167"/>
                    </a:lnTo>
                    <a:lnTo>
                      <a:pt x="89" y="167"/>
                    </a:lnTo>
                    <a:lnTo>
                      <a:pt x="91" y="166"/>
                    </a:lnTo>
                    <a:lnTo>
                      <a:pt x="92" y="167"/>
                    </a:lnTo>
                    <a:lnTo>
                      <a:pt x="94" y="164"/>
                    </a:lnTo>
                    <a:lnTo>
                      <a:pt x="92" y="167"/>
                    </a:lnTo>
                    <a:lnTo>
                      <a:pt x="84" y="167"/>
                    </a:lnTo>
                    <a:lnTo>
                      <a:pt x="83" y="162"/>
                    </a:lnTo>
                    <a:lnTo>
                      <a:pt x="80" y="166"/>
                    </a:lnTo>
                    <a:lnTo>
                      <a:pt x="78" y="159"/>
                    </a:lnTo>
                    <a:lnTo>
                      <a:pt x="84" y="158"/>
                    </a:lnTo>
                    <a:lnTo>
                      <a:pt x="92" y="151"/>
                    </a:lnTo>
                    <a:lnTo>
                      <a:pt x="99" y="153"/>
                    </a:lnTo>
                    <a:lnTo>
                      <a:pt x="97" y="150"/>
                    </a:lnTo>
                    <a:lnTo>
                      <a:pt x="92" y="151"/>
                    </a:lnTo>
                    <a:lnTo>
                      <a:pt x="92" y="148"/>
                    </a:lnTo>
                    <a:lnTo>
                      <a:pt x="84" y="156"/>
                    </a:lnTo>
                    <a:lnTo>
                      <a:pt x="76" y="158"/>
                    </a:lnTo>
                    <a:lnTo>
                      <a:pt x="80" y="164"/>
                    </a:lnTo>
                    <a:lnTo>
                      <a:pt x="75" y="169"/>
                    </a:lnTo>
                    <a:lnTo>
                      <a:pt x="76" y="172"/>
                    </a:lnTo>
                    <a:lnTo>
                      <a:pt x="72" y="172"/>
                    </a:lnTo>
                    <a:lnTo>
                      <a:pt x="75" y="182"/>
                    </a:lnTo>
                    <a:lnTo>
                      <a:pt x="72" y="183"/>
                    </a:lnTo>
                    <a:lnTo>
                      <a:pt x="67" y="180"/>
                    </a:lnTo>
                    <a:lnTo>
                      <a:pt x="38" y="140"/>
                    </a:lnTo>
                    <a:lnTo>
                      <a:pt x="38" y="137"/>
                    </a:lnTo>
                    <a:lnTo>
                      <a:pt x="48" y="150"/>
                    </a:lnTo>
                    <a:lnTo>
                      <a:pt x="57" y="150"/>
                    </a:lnTo>
                    <a:lnTo>
                      <a:pt x="65" y="154"/>
                    </a:lnTo>
                    <a:lnTo>
                      <a:pt x="70" y="151"/>
                    </a:lnTo>
                    <a:lnTo>
                      <a:pt x="72" y="153"/>
                    </a:lnTo>
                    <a:lnTo>
                      <a:pt x="72" y="150"/>
                    </a:lnTo>
                    <a:lnTo>
                      <a:pt x="84" y="138"/>
                    </a:lnTo>
                    <a:lnTo>
                      <a:pt x="89" y="131"/>
                    </a:lnTo>
                    <a:lnTo>
                      <a:pt x="99" y="129"/>
                    </a:lnTo>
                    <a:lnTo>
                      <a:pt x="92" y="131"/>
                    </a:lnTo>
                    <a:lnTo>
                      <a:pt x="91" y="127"/>
                    </a:lnTo>
                    <a:lnTo>
                      <a:pt x="99" y="121"/>
                    </a:lnTo>
                    <a:lnTo>
                      <a:pt x="94" y="123"/>
                    </a:lnTo>
                    <a:lnTo>
                      <a:pt x="94" y="116"/>
                    </a:lnTo>
                    <a:lnTo>
                      <a:pt x="91" y="115"/>
                    </a:lnTo>
                    <a:lnTo>
                      <a:pt x="94" y="116"/>
                    </a:lnTo>
                    <a:lnTo>
                      <a:pt x="94" y="123"/>
                    </a:lnTo>
                    <a:lnTo>
                      <a:pt x="91" y="121"/>
                    </a:lnTo>
                    <a:lnTo>
                      <a:pt x="88" y="124"/>
                    </a:lnTo>
                    <a:lnTo>
                      <a:pt x="75" y="121"/>
                    </a:lnTo>
                    <a:lnTo>
                      <a:pt x="72" y="129"/>
                    </a:lnTo>
                    <a:lnTo>
                      <a:pt x="65" y="127"/>
                    </a:lnTo>
                    <a:lnTo>
                      <a:pt x="68" y="124"/>
                    </a:lnTo>
                    <a:lnTo>
                      <a:pt x="60" y="121"/>
                    </a:lnTo>
                    <a:lnTo>
                      <a:pt x="54" y="123"/>
                    </a:lnTo>
                    <a:lnTo>
                      <a:pt x="56" y="116"/>
                    </a:lnTo>
                    <a:lnTo>
                      <a:pt x="62" y="113"/>
                    </a:lnTo>
                    <a:lnTo>
                      <a:pt x="60" y="111"/>
                    </a:lnTo>
                    <a:lnTo>
                      <a:pt x="67" y="105"/>
                    </a:lnTo>
                    <a:lnTo>
                      <a:pt x="73" y="107"/>
                    </a:lnTo>
                    <a:lnTo>
                      <a:pt x="70" y="102"/>
                    </a:lnTo>
                    <a:lnTo>
                      <a:pt x="70" y="105"/>
                    </a:lnTo>
                    <a:lnTo>
                      <a:pt x="65" y="105"/>
                    </a:lnTo>
                    <a:lnTo>
                      <a:pt x="64" y="100"/>
                    </a:lnTo>
                    <a:lnTo>
                      <a:pt x="68" y="97"/>
                    </a:lnTo>
                    <a:lnTo>
                      <a:pt x="62" y="100"/>
                    </a:lnTo>
                    <a:lnTo>
                      <a:pt x="65" y="105"/>
                    </a:lnTo>
                    <a:lnTo>
                      <a:pt x="60" y="110"/>
                    </a:lnTo>
                    <a:lnTo>
                      <a:pt x="62" y="115"/>
                    </a:lnTo>
                    <a:lnTo>
                      <a:pt x="57" y="113"/>
                    </a:lnTo>
                    <a:lnTo>
                      <a:pt x="46" y="121"/>
                    </a:lnTo>
                    <a:lnTo>
                      <a:pt x="41" y="116"/>
                    </a:lnTo>
                    <a:lnTo>
                      <a:pt x="40" y="116"/>
                    </a:lnTo>
                    <a:lnTo>
                      <a:pt x="43" y="108"/>
                    </a:lnTo>
                    <a:lnTo>
                      <a:pt x="40" y="99"/>
                    </a:lnTo>
                    <a:lnTo>
                      <a:pt x="41" y="100"/>
                    </a:lnTo>
                    <a:lnTo>
                      <a:pt x="40" y="105"/>
                    </a:lnTo>
                    <a:lnTo>
                      <a:pt x="41" y="110"/>
                    </a:lnTo>
                    <a:lnTo>
                      <a:pt x="38" y="118"/>
                    </a:lnTo>
                    <a:lnTo>
                      <a:pt x="32" y="118"/>
                    </a:lnTo>
                    <a:lnTo>
                      <a:pt x="14" y="91"/>
                    </a:lnTo>
                    <a:lnTo>
                      <a:pt x="17" y="89"/>
                    </a:lnTo>
                    <a:lnTo>
                      <a:pt x="16" y="84"/>
                    </a:lnTo>
                    <a:lnTo>
                      <a:pt x="0" y="48"/>
                    </a:lnTo>
                    <a:lnTo>
                      <a:pt x="13" y="44"/>
                    </a:lnTo>
                    <a:lnTo>
                      <a:pt x="21" y="56"/>
                    </a:lnTo>
                    <a:lnTo>
                      <a:pt x="29" y="56"/>
                    </a:lnTo>
                    <a:lnTo>
                      <a:pt x="35" y="62"/>
                    </a:lnTo>
                    <a:lnTo>
                      <a:pt x="46" y="64"/>
                    </a:lnTo>
                    <a:lnTo>
                      <a:pt x="59" y="73"/>
                    </a:lnTo>
                    <a:lnTo>
                      <a:pt x="65" y="75"/>
                    </a:lnTo>
                    <a:lnTo>
                      <a:pt x="68" y="70"/>
                    </a:lnTo>
                    <a:lnTo>
                      <a:pt x="76" y="71"/>
                    </a:lnTo>
                    <a:lnTo>
                      <a:pt x="83" y="65"/>
                    </a:lnTo>
                    <a:lnTo>
                      <a:pt x="89" y="62"/>
                    </a:lnTo>
                    <a:lnTo>
                      <a:pt x="92" y="64"/>
                    </a:lnTo>
                    <a:lnTo>
                      <a:pt x="96" y="57"/>
                    </a:lnTo>
                    <a:lnTo>
                      <a:pt x="102" y="57"/>
                    </a:lnTo>
                    <a:lnTo>
                      <a:pt x="104" y="60"/>
                    </a:lnTo>
                    <a:lnTo>
                      <a:pt x="107" y="57"/>
                    </a:lnTo>
                    <a:lnTo>
                      <a:pt x="108" y="62"/>
                    </a:lnTo>
                    <a:lnTo>
                      <a:pt x="112" y="59"/>
                    </a:lnTo>
                    <a:lnTo>
                      <a:pt x="115" y="60"/>
                    </a:lnTo>
                    <a:lnTo>
                      <a:pt x="116" y="52"/>
                    </a:lnTo>
                    <a:lnTo>
                      <a:pt x="120" y="54"/>
                    </a:lnTo>
                    <a:lnTo>
                      <a:pt x="126" y="52"/>
                    </a:lnTo>
                    <a:lnTo>
                      <a:pt x="129" y="38"/>
                    </a:lnTo>
                    <a:lnTo>
                      <a:pt x="135" y="41"/>
                    </a:lnTo>
                    <a:lnTo>
                      <a:pt x="147" y="52"/>
                    </a:lnTo>
                    <a:lnTo>
                      <a:pt x="153" y="56"/>
                    </a:lnTo>
                    <a:lnTo>
                      <a:pt x="159" y="52"/>
                    </a:lnTo>
                    <a:lnTo>
                      <a:pt x="161" y="44"/>
                    </a:lnTo>
                    <a:lnTo>
                      <a:pt x="164" y="41"/>
                    </a:lnTo>
                    <a:lnTo>
                      <a:pt x="177" y="46"/>
                    </a:lnTo>
                    <a:lnTo>
                      <a:pt x="183" y="40"/>
                    </a:lnTo>
                    <a:lnTo>
                      <a:pt x="188" y="40"/>
                    </a:lnTo>
                    <a:lnTo>
                      <a:pt x="188" y="43"/>
                    </a:lnTo>
                    <a:lnTo>
                      <a:pt x="183" y="43"/>
                    </a:lnTo>
                    <a:lnTo>
                      <a:pt x="183" y="49"/>
                    </a:lnTo>
                    <a:lnTo>
                      <a:pt x="174" y="49"/>
                    </a:lnTo>
                    <a:lnTo>
                      <a:pt x="175" y="59"/>
                    </a:lnTo>
                    <a:lnTo>
                      <a:pt x="174" y="62"/>
                    </a:lnTo>
                    <a:lnTo>
                      <a:pt x="167" y="64"/>
                    </a:lnTo>
                    <a:lnTo>
                      <a:pt x="166" y="67"/>
                    </a:lnTo>
                    <a:lnTo>
                      <a:pt x="172" y="73"/>
                    </a:lnTo>
                    <a:lnTo>
                      <a:pt x="161" y="71"/>
                    </a:lnTo>
                    <a:lnTo>
                      <a:pt x="158" y="75"/>
                    </a:lnTo>
                    <a:lnTo>
                      <a:pt x="158" y="76"/>
                    </a:lnTo>
                    <a:lnTo>
                      <a:pt x="164" y="78"/>
                    </a:lnTo>
                    <a:lnTo>
                      <a:pt x="164" y="84"/>
                    </a:lnTo>
                    <a:lnTo>
                      <a:pt x="174" y="84"/>
                    </a:lnTo>
                    <a:lnTo>
                      <a:pt x="175" y="91"/>
                    </a:lnTo>
                    <a:lnTo>
                      <a:pt x="167" y="95"/>
                    </a:lnTo>
                    <a:lnTo>
                      <a:pt x="159" y="91"/>
                    </a:lnTo>
                    <a:lnTo>
                      <a:pt x="159" y="95"/>
                    </a:lnTo>
                    <a:lnTo>
                      <a:pt x="164" y="95"/>
                    </a:lnTo>
                    <a:lnTo>
                      <a:pt x="166" y="99"/>
                    </a:lnTo>
                    <a:lnTo>
                      <a:pt x="163" y="107"/>
                    </a:lnTo>
                    <a:lnTo>
                      <a:pt x="158" y="108"/>
                    </a:lnTo>
                    <a:lnTo>
                      <a:pt x="151" y="107"/>
                    </a:lnTo>
                    <a:lnTo>
                      <a:pt x="150" y="108"/>
                    </a:lnTo>
                    <a:lnTo>
                      <a:pt x="153" y="113"/>
                    </a:lnTo>
                    <a:lnTo>
                      <a:pt x="148" y="111"/>
                    </a:lnTo>
                    <a:lnTo>
                      <a:pt x="142" y="116"/>
                    </a:lnTo>
                    <a:lnTo>
                      <a:pt x="143" y="119"/>
                    </a:lnTo>
                    <a:lnTo>
                      <a:pt x="151" y="121"/>
                    </a:lnTo>
                    <a:lnTo>
                      <a:pt x="143" y="124"/>
                    </a:lnTo>
                    <a:lnTo>
                      <a:pt x="143" y="127"/>
                    </a:lnTo>
                    <a:lnTo>
                      <a:pt x="150" y="132"/>
                    </a:lnTo>
                    <a:lnTo>
                      <a:pt x="153" y="137"/>
                    </a:lnTo>
                    <a:lnTo>
                      <a:pt x="158" y="137"/>
                    </a:lnTo>
                    <a:lnTo>
                      <a:pt x="151" y="151"/>
                    </a:lnTo>
                    <a:lnTo>
                      <a:pt x="148" y="150"/>
                    </a:lnTo>
                    <a:lnTo>
                      <a:pt x="145" y="156"/>
                    </a:lnTo>
                    <a:lnTo>
                      <a:pt x="137" y="161"/>
                    </a:lnTo>
                    <a:lnTo>
                      <a:pt x="135" y="166"/>
                    </a:lnTo>
                    <a:lnTo>
                      <a:pt x="139" y="169"/>
                    </a:lnTo>
                    <a:lnTo>
                      <a:pt x="134" y="174"/>
                    </a:lnTo>
                    <a:lnTo>
                      <a:pt x="135" y="178"/>
                    </a:lnTo>
                    <a:lnTo>
                      <a:pt x="131" y="185"/>
                    </a:lnTo>
                    <a:lnTo>
                      <a:pt x="126" y="199"/>
                    </a:lnTo>
                    <a:lnTo>
                      <a:pt x="135" y="207"/>
                    </a:lnTo>
                    <a:lnTo>
                      <a:pt x="132" y="218"/>
                    </a:lnTo>
                    <a:lnTo>
                      <a:pt x="139" y="225"/>
                    </a:lnTo>
                    <a:lnTo>
                      <a:pt x="137" y="233"/>
                    </a:lnTo>
                    <a:close/>
                    <a:moveTo>
                      <a:pt x="239" y="233"/>
                    </a:moveTo>
                    <a:lnTo>
                      <a:pt x="234" y="225"/>
                    </a:lnTo>
                    <a:lnTo>
                      <a:pt x="226" y="221"/>
                    </a:lnTo>
                    <a:lnTo>
                      <a:pt x="228" y="217"/>
                    </a:lnTo>
                    <a:lnTo>
                      <a:pt x="225" y="212"/>
                    </a:lnTo>
                    <a:lnTo>
                      <a:pt x="228" y="207"/>
                    </a:lnTo>
                    <a:lnTo>
                      <a:pt x="225" y="198"/>
                    </a:lnTo>
                    <a:lnTo>
                      <a:pt x="228" y="196"/>
                    </a:lnTo>
                    <a:lnTo>
                      <a:pt x="226" y="191"/>
                    </a:lnTo>
                    <a:lnTo>
                      <a:pt x="226" y="177"/>
                    </a:lnTo>
                    <a:lnTo>
                      <a:pt x="226" y="190"/>
                    </a:lnTo>
                    <a:lnTo>
                      <a:pt x="222" y="183"/>
                    </a:lnTo>
                    <a:lnTo>
                      <a:pt x="228" y="196"/>
                    </a:lnTo>
                    <a:lnTo>
                      <a:pt x="225" y="196"/>
                    </a:lnTo>
                    <a:lnTo>
                      <a:pt x="222" y="199"/>
                    </a:lnTo>
                    <a:lnTo>
                      <a:pt x="220" y="188"/>
                    </a:lnTo>
                    <a:lnTo>
                      <a:pt x="223" y="198"/>
                    </a:lnTo>
                    <a:lnTo>
                      <a:pt x="222" y="202"/>
                    </a:lnTo>
                    <a:lnTo>
                      <a:pt x="217" y="202"/>
                    </a:lnTo>
                    <a:lnTo>
                      <a:pt x="217" y="199"/>
                    </a:lnTo>
                    <a:lnTo>
                      <a:pt x="217" y="204"/>
                    </a:lnTo>
                    <a:lnTo>
                      <a:pt x="214" y="201"/>
                    </a:lnTo>
                    <a:lnTo>
                      <a:pt x="215" y="199"/>
                    </a:lnTo>
                    <a:lnTo>
                      <a:pt x="214" y="201"/>
                    </a:lnTo>
                    <a:lnTo>
                      <a:pt x="210" y="198"/>
                    </a:lnTo>
                    <a:lnTo>
                      <a:pt x="210" y="191"/>
                    </a:lnTo>
                    <a:lnTo>
                      <a:pt x="217" y="212"/>
                    </a:lnTo>
                    <a:lnTo>
                      <a:pt x="206" y="220"/>
                    </a:lnTo>
                    <a:lnTo>
                      <a:pt x="207" y="209"/>
                    </a:lnTo>
                    <a:lnTo>
                      <a:pt x="204" y="202"/>
                    </a:lnTo>
                    <a:lnTo>
                      <a:pt x="207" y="199"/>
                    </a:lnTo>
                    <a:lnTo>
                      <a:pt x="207" y="191"/>
                    </a:lnTo>
                    <a:lnTo>
                      <a:pt x="207" y="199"/>
                    </a:lnTo>
                    <a:lnTo>
                      <a:pt x="202" y="199"/>
                    </a:lnTo>
                    <a:lnTo>
                      <a:pt x="201" y="194"/>
                    </a:lnTo>
                    <a:lnTo>
                      <a:pt x="207" y="177"/>
                    </a:lnTo>
                    <a:lnTo>
                      <a:pt x="214" y="175"/>
                    </a:lnTo>
                    <a:lnTo>
                      <a:pt x="210" y="172"/>
                    </a:lnTo>
                    <a:lnTo>
                      <a:pt x="212" y="167"/>
                    </a:lnTo>
                    <a:lnTo>
                      <a:pt x="210" y="170"/>
                    </a:lnTo>
                    <a:lnTo>
                      <a:pt x="214" y="175"/>
                    </a:lnTo>
                    <a:lnTo>
                      <a:pt x="206" y="177"/>
                    </a:lnTo>
                    <a:lnTo>
                      <a:pt x="206" y="174"/>
                    </a:lnTo>
                    <a:lnTo>
                      <a:pt x="207" y="178"/>
                    </a:lnTo>
                    <a:lnTo>
                      <a:pt x="204" y="178"/>
                    </a:lnTo>
                    <a:lnTo>
                      <a:pt x="202" y="174"/>
                    </a:lnTo>
                    <a:lnTo>
                      <a:pt x="207" y="180"/>
                    </a:lnTo>
                    <a:lnTo>
                      <a:pt x="206" y="185"/>
                    </a:lnTo>
                    <a:lnTo>
                      <a:pt x="201" y="191"/>
                    </a:lnTo>
                    <a:lnTo>
                      <a:pt x="198" y="188"/>
                    </a:lnTo>
                    <a:lnTo>
                      <a:pt x="201" y="191"/>
                    </a:lnTo>
                    <a:lnTo>
                      <a:pt x="199" y="198"/>
                    </a:lnTo>
                    <a:lnTo>
                      <a:pt x="204" y="213"/>
                    </a:lnTo>
                    <a:lnTo>
                      <a:pt x="202" y="218"/>
                    </a:lnTo>
                    <a:lnTo>
                      <a:pt x="199" y="212"/>
                    </a:lnTo>
                    <a:lnTo>
                      <a:pt x="195" y="210"/>
                    </a:lnTo>
                    <a:lnTo>
                      <a:pt x="198" y="209"/>
                    </a:lnTo>
                    <a:lnTo>
                      <a:pt x="199" y="206"/>
                    </a:lnTo>
                    <a:lnTo>
                      <a:pt x="193" y="204"/>
                    </a:lnTo>
                    <a:lnTo>
                      <a:pt x="193" y="199"/>
                    </a:lnTo>
                    <a:lnTo>
                      <a:pt x="195" y="190"/>
                    </a:lnTo>
                    <a:lnTo>
                      <a:pt x="191" y="185"/>
                    </a:lnTo>
                    <a:lnTo>
                      <a:pt x="195" y="177"/>
                    </a:lnTo>
                    <a:lnTo>
                      <a:pt x="190" y="170"/>
                    </a:lnTo>
                    <a:lnTo>
                      <a:pt x="193" y="166"/>
                    </a:lnTo>
                    <a:lnTo>
                      <a:pt x="191" y="162"/>
                    </a:lnTo>
                    <a:lnTo>
                      <a:pt x="196" y="151"/>
                    </a:lnTo>
                    <a:lnTo>
                      <a:pt x="198" y="158"/>
                    </a:lnTo>
                    <a:lnTo>
                      <a:pt x="196" y="159"/>
                    </a:lnTo>
                    <a:lnTo>
                      <a:pt x="201" y="164"/>
                    </a:lnTo>
                    <a:lnTo>
                      <a:pt x="196" y="154"/>
                    </a:lnTo>
                    <a:lnTo>
                      <a:pt x="202" y="153"/>
                    </a:lnTo>
                    <a:lnTo>
                      <a:pt x="206" y="145"/>
                    </a:lnTo>
                    <a:lnTo>
                      <a:pt x="206" y="138"/>
                    </a:lnTo>
                    <a:lnTo>
                      <a:pt x="199" y="132"/>
                    </a:lnTo>
                    <a:lnTo>
                      <a:pt x="201" y="124"/>
                    </a:lnTo>
                    <a:lnTo>
                      <a:pt x="206" y="124"/>
                    </a:lnTo>
                    <a:lnTo>
                      <a:pt x="209" y="116"/>
                    </a:lnTo>
                    <a:lnTo>
                      <a:pt x="207" y="108"/>
                    </a:lnTo>
                    <a:lnTo>
                      <a:pt x="209" y="100"/>
                    </a:lnTo>
                    <a:lnTo>
                      <a:pt x="204" y="94"/>
                    </a:lnTo>
                    <a:lnTo>
                      <a:pt x="204" y="89"/>
                    </a:lnTo>
                    <a:lnTo>
                      <a:pt x="212" y="84"/>
                    </a:lnTo>
                    <a:lnTo>
                      <a:pt x="204" y="76"/>
                    </a:lnTo>
                    <a:lnTo>
                      <a:pt x="212" y="76"/>
                    </a:lnTo>
                    <a:lnTo>
                      <a:pt x="214" y="73"/>
                    </a:lnTo>
                    <a:lnTo>
                      <a:pt x="212" y="70"/>
                    </a:lnTo>
                    <a:lnTo>
                      <a:pt x="207" y="71"/>
                    </a:lnTo>
                    <a:lnTo>
                      <a:pt x="204" y="70"/>
                    </a:lnTo>
                    <a:lnTo>
                      <a:pt x="199" y="59"/>
                    </a:lnTo>
                    <a:lnTo>
                      <a:pt x="202" y="57"/>
                    </a:lnTo>
                    <a:lnTo>
                      <a:pt x="212" y="59"/>
                    </a:lnTo>
                    <a:lnTo>
                      <a:pt x="217" y="57"/>
                    </a:lnTo>
                    <a:lnTo>
                      <a:pt x="218" y="51"/>
                    </a:lnTo>
                    <a:lnTo>
                      <a:pt x="215" y="44"/>
                    </a:lnTo>
                    <a:lnTo>
                      <a:pt x="223" y="44"/>
                    </a:lnTo>
                    <a:lnTo>
                      <a:pt x="231" y="40"/>
                    </a:lnTo>
                    <a:lnTo>
                      <a:pt x="228" y="35"/>
                    </a:lnTo>
                    <a:lnTo>
                      <a:pt x="220" y="38"/>
                    </a:lnTo>
                    <a:lnTo>
                      <a:pt x="217" y="35"/>
                    </a:lnTo>
                    <a:lnTo>
                      <a:pt x="225" y="20"/>
                    </a:lnTo>
                    <a:lnTo>
                      <a:pt x="239" y="17"/>
                    </a:lnTo>
                    <a:lnTo>
                      <a:pt x="244" y="6"/>
                    </a:lnTo>
                    <a:lnTo>
                      <a:pt x="250" y="1"/>
                    </a:lnTo>
                    <a:lnTo>
                      <a:pt x="260" y="0"/>
                    </a:lnTo>
                    <a:lnTo>
                      <a:pt x="260" y="40"/>
                    </a:lnTo>
                    <a:lnTo>
                      <a:pt x="263" y="44"/>
                    </a:lnTo>
                    <a:lnTo>
                      <a:pt x="258" y="48"/>
                    </a:lnTo>
                    <a:lnTo>
                      <a:pt x="258" y="56"/>
                    </a:lnTo>
                    <a:lnTo>
                      <a:pt x="254" y="57"/>
                    </a:lnTo>
                    <a:lnTo>
                      <a:pt x="254" y="62"/>
                    </a:lnTo>
                    <a:lnTo>
                      <a:pt x="250" y="64"/>
                    </a:lnTo>
                    <a:lnTo>
                      <a:pt x="250" y="67"/>
                    </a:lnTo>
                    <a:lnTo>
                      <a:pt x="247" y="68"/>
                    </a:lnTo>
                    <a:lnTo>
                      <a:pt x="249" y="71"/>
                    </a:lnTo>
                    <a:lnTo>
                      <a:pt x="246" y="78"/>
                    </a:lnTo>
                    <a:lnTo>
                      <a:pt x="247" y="86"/>
                    </a:lnTo>
                    <a:lnTo>
                      <a:pt x="246" y="91"/>
                    </a:lnTo>
                    <a:lnTo>
                      <a:pt x="242" y="92"/>
                    </a:lnTo>
                    <a:lnTo>
                      <a:pt x="242" y="97"/>
                    </a:lnTo>
                    <a:lnTo>
                      <a:pt x="236" y="95"/>
                    </a:lnTo>
                    <a:lnTo>
                      <a:pt x="233" y="100"/>
                    </a:lnTo>
                    <a:lnTo>
                      <a:pt x="233" y="110"/>
                    </a:lnTo>
                    <a:lnTo>
                      <a:pt x="228" y="116"/>
                    </a:lnTo>
                    <a:lnTo>
                      <a:pt x="233" y="119"/>
                    </a:lnTo>
                    <a:lnTo>
                      <a:pt x="234" y="132"/>
                    </a:lnTo>
                    <a:lnTo>
                      <a:pt x="238" y="137"/>
                    </a:lnTo>
                    <a:lnTo>
                      <a:pt x="233" y="137"/>
                    </a:lnTo>
                    <a:lnTo>
                      <a:pt x="231" y="142"/>
                    </a:lnTo>
                    <a:lnTo>
                      <a:pt x="246" y="143"/>
                    </a:lnTo>
                    <a:lnTo>
                      <a:pt x="265" y="140"/>
                    </a:lnTo>
                    <a:lnTo>
                      <a:pt x="271" y="143"/>
                    </a:lnTo>
                    <a:lnTo>
                      <a:pt x="271" y="150"/>
                    </a:lnTo>
                    <a:lnTo>
                      <a:pt x="266" y="170"/>
                    </a:lnTo>
                    <a:lnTo>
                      <a:pt x="258" y="177"/>
                    </a:lnTo>
                    <a:lnTo>
                      <a:pt x="255" y="174"/>
                    </a:lnTo>
                    <a:lnTo>
                      <a:pt x="258" y="177"/>
                    </a:lnTo>
                    <a:lnTo>
                      <a:pt x="252" y="180"/>
                    </a:lnTo>
                    <a:lnTo>
                      <a:pt x="247" y="191"/>
                    </a:lnTo>
                    <a:lnTo>
                      <a:pt x="249" y="217"/>
                    </a:lnTo>
                    <a:lnTo>
                      <a:pt x="244" y="221"/>
                    </a:lnTo>
                    <a:lnTo>
                      <a:pt x="247" y="229"/>
                    </a:lnTo>
                    <a:lnTo>
                      <a:pt x="239" y="233"/>
                    </a:lnTo>
                    <a:close/>
                    <a:moveTo>
                      <a:pt x="225" y="175"/>
                    </a:moveTo>
                    <a:lnTo>
                      <a:pt x="223" y="172"/>
                    </a:lnTo>
                    <a:lnTo>
                      <a:pt x="222" y="170"/>
                    </a:lnTo>
                    <a:lnTo>
                      <a:pt x="225" y="175"/>
                    </a:lnTo>
                    <a:close/>
                    <a:moveTo>
                      <a:pt x="191" y="239"/>
                    </a:moveTo>
                    <a:lnTo>
                      <a:pt x="188" y="233"/>
                    </a:lnTo>
                    <a:lnTo>
                      <a:pt x="193" y="231"/>
                    </a:lnTo>
                    <a:lnTo>
                      <a:pt x="191" y="223"/>
                    </a:lnTo>
                    <a:lnTo>
                      <a:pt x="193" y="228"/>
                    </a:lnTo>
                    <a:lnTo>
                      <a:pt x="190" y="229"/>
                    </a:lnTo>
                    <a:lnTo>
                      <a:pt x="193" y="231"/>
                    </a:lnTo>
                    <a:lnTo>
                      <a:pt x="187" y="233"/>
                    </a:lnTo>
                    <a:lnTo>
                      <a:pt x="188" y="234"/>
                    </a:lnTo>
                    <a:lnTo>
                      <a:pt x="185" y="236"/>
                    </a:lnTo>
                    <a:lnTo>
                      <a:pt x="182" y="236"/>
                    </a:lnTo>
                    <a:lnTo>
                      <a:pt x="180" y="231"/>
                    </a:lnTo>
                    <a:lnTo>
                      <a:pt x="179" y="231"/>
                    </a:lnTo>
                    <a:lnTo>
                      <a:pt x="180" y="234"/>
                    </a:lnTo>
                    <a:lnTo>
                      <a:pt x="172" y="234"/>
                    </a:lnTo>
                    <a:lnTo>
                      <a:pt x="167" y="228"/>
                    </a:lnTo>
                    <a:lnTo>
                      <a:pt x="169" y="225"/>
                    </a:lnTo>
                    <a:lnTo>
                      <a:pt x="177" y="225"/>
                    </a:lnTo>
                    <a:lnTo>
                      <a:pt x="182" y="218"/>
                    </a:lnTo>
                    <a:lnTo>
                      <a:pt x="177" y="210"/>
                    </a:lnTo>
                    <a:lnTo>
                      <a:pt x="183" y="207"/>
                    </a:lnTo>
                    <a:lnTo>
                      <a:pt x="179" y="196"/>
                    </a:lnTo>
                    <a:lnTo>
                      <a:pt x="182" y="186"/>
                    </a:lnTo>
                    <a:lnTo>
                      <a:pt x="179" y="198"/>
                    </a:lnTo>
                    <a:lnTo>
                      <a:pt x="182" y="207"/>
                    </a:lnTo>
                    <a:lnTo>
                      <a:pt x="179" y="209"/>
                    </a:lnTo>
                    <a:lnTo>
                      <a:pt x="179" y="206"/>
                    </a:lnTo>
                    <a:lnTo>
                      <a:pt x="175" y="199"/>
                    </a:lnTo>
                    <a:lnTo>
                      <a:pt x="182" y="182"/>
                    </a:lnTo>
                    <a:lnTo>
                      <a:pt x="179" y="151"/>
                    </a:lnTo>
                    <a:lnTo>
                      <a:pt x="182" y="182"/>
                    </a:lnTo>
                    <a:lnTo>
                      <a:pt x="174" y="198"/>
                    </a:lnTo>
                    <a:lnTo>
                      <a:pt x="177" y="207"/>
                    </a:lnTo>
                    <a:lnTo>
                      <a:pt x="172" y="213"/>
                    </a:lnTo>
                    <a:lnTo>
                      <a:pt x="166" y="209"/>
                    </a:lnTo>
                    <a:lnTo>
                      <a:pt x="171" y="207"/>
                    </a:lnTo>
                    <a:lnTo>
                      <a:pt x="174" y="201"/>
                    </a:lnTo>
                    <a:lnTo>
                      <a:pt x="172" y="198"/>
                    </a:lnTo>
                    <a:lnTo>
                      <a:pt x="169" y="194"/>
                    </a:lnTo>
                    <a:lnTo>
                      <a:pt x="172" y="194"/>
                    </a:lnTo>
                    <a:lnTo>
                      <a:pt x="174" y="188"/>
                    </a:lnTo>
                    <a:lnTo>
                      <a:pt x="172" y="180"/>
                    </a:lnTo>
                    <a:lnTo>
                      <a:pt x="174" y="177"/>
                    </a:lnTo>
                    <a:lnTo>
                      <a:pt x="171" y="194"/>
                    </a:lnTo>
                    <a:lnTo>
                      <a:pt x="166" y="194"/>
                    </a:lnTo>
                    <a:lnTo>
                      <a:pt x="167" y="186"/>
                    </a:lnTo>
                    <a:lnTo>
                      <a:pt x="166" y="194"/>
                    </a:lnTo>
                    <a:lnTo>
                      <a:pt x="172" y="198"/>
                    </a:lnTo>
                    <a:lnTo>
                      <a:pt x="169" y="207"/>
                    </a:lnTo>
                    <a:lnTo>
                      <a:pt x="166" y="209"/>
                    </a:lnTo>
                    <a:lnTo>
                      <a:pt x="167" y="215"/>
                    </a:lnTo>
                    <a:lnTo>
                      <a:pt x="163" y="217"/>
                    </a:lnTo>
                    <a:lnTo>
                      <a:pt x="161" y="220"/>
                    </a:lnTo>
                    <a:lnTo>
                      <a:pt x="158" y="215"/>
                    </a:lnTo>
                    <a:lnTo>
                      <a:pt x="159" y="202"/>
                    </a:lnTo>
                    <a:lnTo>
                      <a:pt x="155" y="201"/>
                    </a:lnTo>
                    <a:lnTo>
                      <a:pt x="153" y="198"/>
                    </a:lnTo>
                    <a:lnTo>
                      <a:pt x="166" y="178"/>
                    </a:lnTo>
                    <a:lnTo>
                      <a:pt x="163" y="180"/>
                    </a:lnTo>
                    <a:lnTo>
                      <a:pt x="161" y="174"/>
                    </a:lnTo>
                    <a:lnTo>
                      <a:pt x="164" y="169"/>
                    </a:lnTo>
                    <a:lnTo>
                      <a:pt x="161" y="167"/>
                    </a:lnTo>
                    <a:lnTo>
                      <a:pt x="169" y="154"/>
                    </a:lnTo>
                    <a:lnTo>
                      <a:pt x="167" y="146"/>
                    </a:lnTo>
                    <a:lnTo>
                      <a:pt x="167" y="138"/>
                    </a:lnTo>
                    <a:lnTo>
                      <a:pt x="161" y="132"/>
                    </a:lnTo>
                    <a:lnTo>
                      <a:pt x="163" y="131"/>
                    </a:lnTo>
                    <a:lnTo>
                      <a:pt x="166" y="131"/>
                    </a:lnTo>
                    <a:lnTo>
                      <a:pt x="169" y="129"/>
                    </a:lnTo>
                    <a:lnTo>
                      <a:pt x="166" y="123"/>
                    </a:lnTo>
                    <a:lnTo>
                      <a:pt x="171" y="119"/>
                    </a:lnTo>
                    <a:lnTo>
                      <a:pt x="172" y="115"/>
                    </a:lnTo>
                    <a:lnTo>
                      <a:pt x="179" y="113"/>
                    </a:lnTo>
                    <a:lnTo>
                      <a:pt x="182" y="105"/>
                    </a:lnTo>
                    <a:lnTo>
                      <a:pt x="188" y="110"/>
                    </a:lnTo>
                    <a:lnTo>
                      <a:pt x="193" y="108"/>
                    </a:lnTo>
                    <a:lnTo>
                      <a:pt x="195" y="103"/>
                    </a:lnTo>
                    <a:lnTo>
                      <a:pt x="191" y="91"/>
                    </a:lnTo>
                    <a:lnTo>
                      <a:pt x="195" y="92"/>
                    </a:lnTo>
                    <a:lnTo>
                      <a:pt x="195" y="97"/>
                    </a:lnTo>
                    <a:lnTo>
                      <a:pt x="198" y="99"/>
                    </a:lnTo>
                    <a:lnTo>
                      <a:pt x="204" y="89"/>
                    </a:lnTo>
                    <a:lnTo>
                      <a:pt x="202" y="94"/>
                    </a:lnTo>
                    <a:lnTo>
                      <a:pt x="209" y="100"/>
                    </a:lnTo>
                    <a:lnTo>
                      <a:pt x="206" y="108"/>
                    </a:lnTo>
                    <a:lnTo>
                      <a:pt x="207" y="116"/>
                    </a:lnTo>
                    <a:lnTo>
                      <a:pt x="206" y="123"/>
                    </a:lnTo>
                    <a:lnTo>
                      <a:pt x="201" y="124"/>
                    </a:lnTo>
                    <a:lnTo>
                      <a:pt x="199" y="132"/>
                    </a:lnTo>
                    <a:lnTo>
                      <a:pt x="206" y="140"/>
                    </a:lnTo>
                    <a:lnTo>
                      <a:pt x="206" y="145"/>
                    </a:lnTo>
                    <a:lnTo>
                      <a:pt x="201" y="153"/>
                    </a:lnTo>
                    <a:lnTo>
                      <a:pt x="195" y="151"/>
                    </a:lnTo>
                    <a:lnTo>
                      <a:pt x="191" y="169"/>
                    </a:lnTo>
                    <a:lnTo>
                      <a:pt x="188" y="167"/>
                    </a:lnTo>
                    <a:lnTo>
                      <a:pt x="191" y="167"/>
                    </a:lnTo>
                    <a:lnTo>
                      <a:pt x="188" y="175"/>
                    </a:lnTo>
                    <a:lnTo>
                      <a:pt x="190" y="177"/>
                    </a:lnTo>
                    <a:lnTo>
                      <a:pt x="187" y="185"/>
                    </a:lnTo>
                    <a:lnTo>
                      <a:pt x="190" y="207"/>
                    </a:lnTo>
                    <a:lnTo>
                      <a:pt x="193" y="212"/>
                    </a:lnTo>
                    <a:lnTo>
                      <a:pt x="201" y="217"/>
                    </a:lnTo>
                    <a:lnTo>
                      <a:pt x="198" y="223"/>
                    </a:lnTo>
                    <a:lnTo>
                      <a:pt x="195" y="223"/>
                    </a:lnTo>
                    <a:lnTo>
                      <a:pt x="196" y="220"/>
                    </a:lnTo>
                    <a:lnTo>
                      <a:pt x="193" y="221"/>
                    </a:lnTo>
                    <a:lnTo>
                      <a:pt x="193" y="223"/>
                    </a:lnTo>
                    <a:lnTo>
                      <a:pt x="196" y="220"/>
                    </a:lnTo>
                    <a:lnTo>
                      <a:pt x="195" y="223"/>
                    </a:lnTo>
                    <a:lnTo>
                      <a:pt x="198" y="225"/>
                    </a:lnTo>
                    <a:lnTo>
                      <a:pt x="195" y="236"/>
                    </a:lnTo>
                    <a:lnTo>
                      <a:pt x="191" y="239"/>
                    </a:lnTo>
                    <a:close/>
                    <a:moveTo>
                      <a:pt x="161" y="244"/>
                    </a:moveTo>
                    <a:lnTo>
                      <a:pt x="140" y="239"/>
                    </a:lnTo>
                    <a:lnTo>
                      <a:pt x="140" y="231"/>
                    </a:lnTo>
                    <a:lnTo>
                      <a:pt x="143" y="228"/>
                    </a:lnTo>
                    <a:lnTo>
                      <a:pt x="140" y="223"/>
                    </a:lnTo>
                    <a:lnTo>
                      <a:pt x="142" y="217"/>
                    </a:lnTo>
                    <a:lnTo>
                      <a:pt x="140" y="220"/>
                    </a:lnTo>
                    <a:lnTo>
                      <a:pt x="139" y="218"/>
                    </a:lnTo>
                    <a:lnTo>
                      <a:pt x="145" y="201"/>
                    </a:lnTo>
                    <a:lnTo>
                      <a:pt x="142" y="191"/>
                    </a:lnTo>
                    <a:lnTo>
                      <a:pt x="148" y="188"/>
                    </a:lnTo>
                    <a:lnTo>
                      <a:pt x="150" y="183"/>
                    </a:lnTo>
                    <a:lnTo>
                      <a:pt x="155" y="177"/>
                    </a:lnTo>
                    <a:lnTo>
                      <a:pt x="151" y="167"/>
                    </a:lnTo>
                    <a:lnTo>
                      <a:pt x="155" y="159"/>
                    </a:lnTo>
                    <a:lnTo>
                      <a:pt x="153" y="150"/>
                    </a:lnTo>
                    <a:lnTo>
                      <a:pt x="159" y="135"/>
                    </a:lnTo>
                    <a:lnTo>
                      <a:pt x="166" y="138"/>
                    </a:lnTo>
                    <a:lnTo>
                      <a:pt x="167" y="154"/>
                    </a:lnTo>
                    <a:lnTo>
                      <a:pt x="161" y="169"/>
                    </a:lnTo>
                    <a:lnTo>
                      <a:pt x="164" y="170"/>
                    </a:lnTo>
                    <a:lnTo>
                      <a:pt x="161" y="174"/>
                    </a:lnTo>
                    <a:lnTo>
                      <a:pt x="163" y="182"/>
                    </a:lnTo>
                    <a:lnTo>
                      <a:pt x="151" y="198"/>
                    </a:lnTo>
                    <a:lnTo>
                      <a:pt x="158" y="206"/>
                    </a:lnTo>
                    <a:lnTo>
                      <a:pt x="158" y="210"/>
                    </a:lnTo>
                    <a:lnTo>
                      <a:pt x="156" y="217"/>
                    </a:lnTo>
                    <a:lnTo>
                      <a:pt x="151" y="215"/>
                    </a:lnTo>
                    <a:lnTo>
                      <a:pt x="156" y="223"/>
                    </a:lnTo>
                    <a:lnTo>
                      <a:pt x="156" y="229"/>
                    </a:lnTo>
                    <a:lnTo>
                      <a:pt x="161" y="236"/>
                    </a:lnTo>
                    <a:lnTo>
                      <a:pt x="161" y="24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pPr algn="ctr"/>
                <a:endParaRPr lang="en-US" sz="8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3" name="Freeform 235">
              <a:extLst>
                <a:ext uri="{FF2B5EF4-FFF2-40B4-BE49-F238E27FC236}">
                  <a16:creationId xmlns:a16="http://schemas.microsoft.com/office/drawing/2014/main" id="{C58F5F8F-BCE3-4638-8380-688A972F7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1838" y="4327525"/>
              <a:ext cx="282575" cy="344487"/>
            </a:xfrm>
            <a:custGeom>
              <a:avLst/>
              <a:gdLst>
                <a:gd name="T0" fmla="*/ 177 w 178"/>
                <a:gd name="T1" fmla="*/ 5 h 217"/>
                <a:gd name="T2" fmla="*/ 170 w 178"/>
                <a:gd name="T3" fmla="*/ 33 h 217"/>
                <a:gd name="T4" fmla="*/ 178 w 178"/>
                <a:gd name="T5" fmla="*/ 112 h 217"/>
                <a:gd name="T6" fmla="*/ 167 w 178"/>
                <a:gd name="T7" fmla="*/ 137 h 217"/>
                <a:gd name="T8" fmla="*/ 142 w 178"/>
                <a:gd name="T9" fmla="*/ 175 h 217"/>
                <a:gd name="T10" fmla="*/ 113 w 178"/>
                <a:gd name="T11" fmla="*/ 202 h 217"/>
                <a:gd name="T12" fmla="*/ 91 w 178"/>
                <a:gd name="T13" fmla="*/ 215 h 217"/>
                <a:gd name="T14" fmla="*/ 3 w 178"/>
                <a:gd name="T15" fmla="*/ 217 h 217"/>
                <a:gd name="T16" fmla="*/ 0 w 178"/>
                <a:gd name="T17" fmla="*/ 19 h 217"/>
                <a:gd name="T18" fmla="*/ 46 w 178"/>
                <a:gd name="T19" fmla="*/ 17 h 217"/>
                <a:gd name="T20" fmla="*/ 91 w 178"/>
                <a:gd name="T21" fmla="*/ 51 h 217"/>
                <a:gd name="T22" fmla="*/ 110 w 178"/>
                <a:gd name="T23" fmla="*/ 22 h 217"/>
                <a:gd name="T24" fmla="*/ 108 w 178"/>
                <a:gd name="T25" fmla="*/ 11 h 217"/>
                <a:gd name="T26" fmla="*/ 162 w 178"/>
                <a:gd name="T27" fmla="*/ 0 h 217"/>
                <a:gd name="T28" fmla="*/ 177 w 178"/>
                <a:gd name="T29" fmla="*/ 5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8" h="217">
                  <a:moveTo>
                    <a:pt x="177" y="5"/>
                  </a:moveTo>
                  <a:lnTo>
                    <a:pt x="170" y="33"/>
                  </a:lnTo>
                  <a:lnTo>
                    <a:pt x="178" y="112"/>
                  </a:lnTo>
                  <a:lnTo>
                    <a:pt x="167" y="137"/>
                  </a:lnTo>
                  <a:lnTo>
                    <a:pt x="142" y="175"/>
                  </a:lnTo>
                  <a:lnTo>
                    <a:pt x="113" y="202"/>
                  </a:lnTo>
                  <a:lnTo>
                    <a:pt x="91" y="215"/>
                  </a:lnTo>
                  <a:lnTo>
                    <a:pt x="3" y="217"/>
                  </a:lnTo>
                  <a:lnTo>
                    <a:pt x="0" y="19"/>
                  </a:lnTo>
                  <a:lnTo>
                    <a:pt x="46" y="17"/>
                  </a:lnTo>
                  <a:lnTo>
                    <a:pt x="91" y="51"/>
                  </a:lnTo>
                  <a:lnTo>
                    <a:pt x="110" y="22"/>
                  </a:lnTo>
                  <a:lnTo>
                    <a:pt x="108" y="11"/>
                  </a:lnTo>
                  <a:lnTo>
                    <a:pt x="162" y="0"/>
                  </a:lnTo>
                  <a:lnTo>
                    <a:pt x="177" y="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53" name="Rectangle 52">
            <a:extLst>
              <a:ext uri="{FF2B5EF4-FFF2-40B4-BE49-F238E27FC236}">
                <a16:creationId xmlns:a16="http://schemas.microsoft.com/office/drawing/2014/main" id="{60ECE5D4-B29D-4BF0-9FD4-A65B17247A99}"/>
              </a:ext>
            </a:extLst>
          </p:cNvPr>
          <p:cNvSpPr/>
          <p:nvPr/>
        </p:nvSpPr>
        <p:spPr>
          <a:xfrm>
            <a:off x="914400" y="2007704"/>
            <a:ext cx="4731026" cy="406510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  <a:latin typeface="Gill Sans MT" panose="020B0502020104020203" pitchFamily="34" charset="0"/>
              </a:rPr>
              <a:t>[Insert Information potential size / geography of the market for this product/service. Include numerical specifics when able.]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Gill Sans MT" panose="020B0502020104020203" pitchFamily="34" charset="0"/>
              </a:rPr>
              <a:t>[Insert]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Gill Sans MT" panose="020B0502020104020203" pitchFamily="34" charset="0"/>
                <a:ea typeface="Verdana" panose="020B0604030504040204" pitchFamily="34" charset="0"/>
                <a:cs typeface="Verdana" panose="020B0604030504040204" pitchFamily="34" charset="0"/>
              </a:rPr>
              <a:t>[Insert]</a:t>
            </a:r>
            <a:endParaRPr lang="en-US" dirty="0">
              <a:solidFill>
                <a:schemeClr val="tx1"/>
              </a:solidFill>
              <a:latin typeface="Gill Sans MT" panose="020B05020201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Gill Sans MT" panose="020B0502020104020203" pitchFamily="34" charset="0"/>
                <a:ea typeface="Verdana" panose="020B0604030504040204" pitchFamily="34" charset="0"/>
                <a:cs typeface="Verdana" panose="020B0604030504040204" pitchFamily="34" charset="0"/>
              </a:rPr>
              <a:t>[Insert]</a:t>
            </a:r>
            <a:endParaRPr lang="en-US" dirty="0">
              <a:solidFill>
                <a:schemeClr val="tx1"/>
              </a:solidFill>
              <a:latin typeface="Gill Sans MT" panose="020B0502020104020203" pitchFamily="34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711B8526-31AA-4A3A-9A32-E52C3C2106A1}"/>
              </a:ext>
            </a:extLst>
          </p:cNvPr>
          <p:cNvSpPr/>
          <p:nvPr/>
        </p:nvSpPr>
        <p:spPr>
          <a:xfrm>
            <a:off x="6622774" y="3559571"/>
            <a:ext cx="4731026" cy="106719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i="1" dirty="0">
                <a:solidFill>
                  <a:schemeClr val="tx1"/>
                </a:solidFill>
                <a:latin typeface="Gill Sans MT" panose="020B0502020104020203" pitchFamily="34" charset="0"/>
              </a:rPr>
              <a:t>If appropriate, select certain states / identify specific focus areas for the market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5DF3FA7F-E31C-4037-A7AC-449433BD044E}"/>
              </a:ext>
            </a:extLst>
          </p:cNvPr>
          <p:cNvCxnSpPr/>
          <p:nvPr/>
        </p:nvCxnSpPr>
        <p:spPr>
          <a:xfrm>
            <a:off x="6096000" y="2365513"/>
            <a:ext cx="0" cy="344887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Isosceles Triangle 55">
            <a:extLst>
              <a:ext uri="{FF2B5EF4-FFF2-40B4-BE49-F238E27FC236}">
                <a16:creationId xmlns:a16="http://schemas.microsoft.com/office/drawing/2014/main" id="{7547B0E5-2713-4FC4-9235-B00C6156494B}"/>
              </a:ext>
            </a:extLst>
          </p:cNvPr>
          <p:cNvSpPr/>
          <p:nvPr/>
        </p:nvSpPr>
        <p:spPr>
          <a:xfrm rot="5400000">
            <a:off x="5963478" y="3960743"/>
            <a:ext cx="337931" cy="258418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16397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D6FEC3-02F5-4F58-B588-B750B66B7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ny X’s Product &amp; Market Position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3C38A2-466A-43CE-BDE6-61135A4DD15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[Insert tagline as necessary]</a:t>
            </a: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2E2E35-50F5-4732-8EAE-F9D616DBE62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Market Positioning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2D9225-832B-4946-85FA-B6F4D67EE8E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/>
              <a:t>Company Name, CONFIDENTIAL, </a:t>
            </a:r>
            <a:fld id="{6652347D-A1BD-466C-AC33-29B61A3E69AB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78C3DBD-CF89-4F79-A174-84BDAEBC4539}"/>
              </a:ext>
            </a:extLst>
          </p:cNvPr>
          <p:cNvSpPr/>
          <p:nvPr/>
        </p:nvSpPr>
        <p:spPr>
          <a:xfrm>
            <a:off x="914400" y="2007704"/>
            <a:ext cx="4731026" cy="415535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  <a:latin typeface="Gill Sans MT" panose="020B0502020104020203" pitchFamily="34" charset="0"/>
              </a:rPr>
              <a:t>[Insert Information on the Company Product]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58D7788-975F-41AB-91CD-704B5F1F63CA}"/>
              </a:ext>
            </a:extLst>
          </p:cNvPr>
          <p:cNvSpPr/>
          <p:nvPr/>
        </p:nvSpPr>
        <p:spPr>
          <a:xfrm>
            <a:off x="6546574" y="2007705"/>
            <a:ext cx="4731026" cy="1222512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  <a:latin typeface="Gill Sans MT" panose="020B0502020104020203" pitchFamily="34" charset="0"/>
              </a:rPr>
              <a:t>[Insert information on the product’s / company’s position within the market] 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AB61E7C-5ACC-4088-8D51-1B4C7C09F158}"/>
              </a:ext>
            </a:extLst>
          </p:cNvPr>
          <p:cNvCxnSpPr>
            <a:cxnSpLocks/>
          </p:cNvCxnSpPr>
          <p:nvPr/>
        </p:nvCxnSpPr>
        <p:spPr>
          <a:xfrm>
            <a:off x="6096000" y="2365513"/>
            <a:ext cx="0" cy="3528391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78331996-D635-4ED9-96EB-87C9CD610EE7}"/>
              </a:ext>
            </a:extLst>
          </p:cNvPr>
          <p:cNvSpPr/>
          <p:nvPr/>
        </p:nvSpPr>
        <p:spPr>
          <a:xfrm rot="5400000">
            <a:off x="5940286" y="3956171"/>
            <a:ext cx="337931" cy="258418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0F3CDD0-1874-4D1F-8439-881E82A4E673}"/>
              </a:ext>
            </a:extLst>
          </p:cNvPr>
          <p:cNvSpPr/>
          <p:nvPr/>
        </p:nvSpPr>
        <p:spPr>
          <a:xfrm>
            <a:off x="6546574" y="3475928"/>
            <a:ext cx="4731026" cy="1222512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  <a:latin typeface="Gill Sans MT" panose="020B0502020104020203" pitchFamily="34" charset="0"/>
              </a:rPr>
              <a:t>[Insert information on the product’s / company’s position within the market]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8C3E2B1-7DFE-498D-85E7-F8CF425C0451}"/>
              </a:ext>
            </a:extLst>
          </p:cNvPr>
          <p:cNvSpPr/>
          <p:nvPr/>
        </p:nvSpPr>
        <p:spPr>
          <a:xfrm>
            <a:off x="6546574" y="4944151"/>
            <a:ext cx="4731026" cy="1222512"/>
          </a:xfrm>
          <a:prstGeom prst="rect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  <a:latin typeface="Gill Sans MT" panose="020B0502020104020203" pitchFamily="34" charset="0"/>
              </a:rPr>
              <a:t>[Insert information on the product’s / company’s position within the market] </a:t>
            </a:r>
          </a:p>
        </p:txBody>
      </p:sp>
    </p:spTree>
    <p:extLst>
      <p:ext uri="{BB962C8B-B14F-4D97-AF65-F5344CB8AC3E}">
        <p14:creationId xmlns:p14="http://schemas.microsoft.com/office/powerpoint/2010/main" val="15768569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C8A592-7C9D-45D3-A5E2-F9432BA119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Tea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3D5041-A7B5-4630-A94A-00100AD0FB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[Insert tagline as necessary]</a:t>
            </a: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8F530D4-C79D-4333-A1FD-20624165AB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eam Composi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1A8F65-EEA1-486E-90C5-11302900F21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/>
              <a:t>Company Name, CONFIDENTIAL, </a:t>
            </a:r>
            <a:fld id="{6652347D-A1BD-466C-AC33-29B61A3E69AB}" type="slidenum">
              <a:rPr lang="en-US" smtClean="0"/>
              <a:pPr/>
              <a:t>8</a:t>
            </a:fld>
            <a:endParaRPr lang="en-US" dirty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35FD757-1119-4548-9129-B7C857AD509D}"/>
              </a:ext>
            </a:extLst>
          </p:cNvPr>
          <p:cNvGrpSpPr/>
          <p:nvPr/>
        </p:nvGrpSpPr>
        <p:grpSpPr>
          <a:xfrm>
            <a:off x="914400" y="2146914"/>
            <a:ext cx="10351180" cy="858708"/>
            <a:chOff x="914400" y="2146914"/>
            <a:chExt cx="10351180" cy="858708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0A3551EF-ECDC-42D5-8EDD-BB20A7AD4587}"/>
                </a:ext>
              </a:extLst>
            </p:cNvPr>
            <p:cNvGrpSpPr/>
            <p:nvPr/>
          </p:nvGrpSpPr>
          <p:grpSpPr>
            <a:xfrm>
              <a:off x="1700529" y="2161997"/>
              <a:ext cx="9565051" cy="481987"/>
              <a:chOff x="239164" y="897470"/>
              <a:chExt cx="10396690" cy="481987"/>
            </a:xfrm>
          </p:grpSpPr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CE1DC723-67E0-4416-9918-0595AFDEA655}"/>
                  </a:ext>
                </a:extLst>
              </p:cNvPr>
              <p:cNvSpPr txBox="1"/>
              <p:nvPr/>
            </p:nvSpPr>
            <p:spPr>
              <a:xfrm>
                <a:off x="6655301" y="897470"/>
                <a:ext cx="3980553" cy="469359"/>
              </a:xfrm>
              <a:prstGeom prst="rect">
                <a:avLst/>
              </a:prstGeom>
              <a:noFill/>
            </p:spPr>
            <p:txBody>
              <a:bodyPr wrap="square" t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ill Sans MT" panose="020B0502020104020203" pitchFamily="34" charset="0"/>
                    <a:cs typeface="Century Gothic"/>
                  </a:rPr>
                  <a:t>Name Name</a:t>
                </a:r>
                <a:r>
                  <a:rPr lang="en-US" sz="1600" b="1" dirty="0">
                    <a:solidFill>
                      <a:prstClr val="black"/>
                    </a:solidFill>
                    <a:latin typeface="Gill Sans MT" panose="020B0502020104020203" pitchFamily="34" charset="0"/>
                    <a:cs typeface="Century Gothic"/>
                  </a:rPr>
                  <a:t>, Title Title</a:t>
                </a:r>
                <a:endParaRPr kumimoji="0" lang="en-US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Gill Sans MT" panose="020B0502020104020203" pitchFamily="34" charset="0"/>
                  <a:cs typeface="Century Gothic"/>
                </a:endParaRPr>
              </a:p>
              <a:p>
                <a:pPr lvl="0">
                  <a:defRPr/>
                </a:pPr>
                <a:r>
                  <a:rPr lang="en-US" sz="1200" dirty="0">
                    <a:solidFill>
                      <a:prstClr val="black"/>
                    </a:solidFill>
                    <a:latin typeface="Gill Sans MT" panose="020B0502020104020203" pitchFamily="34" charset="0"/>
                    <a:cs typeface="Century Gothic"/>
                  </a:rPr>
                  <a:t>[Insert Brief biography]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 panose="020B0502020104020203" pitchFamily="34" charset="0"/>
                  <a:cs typeface="Century Gothic"/>
                </a:endParaRPr>
              </a:p>
            </p:txBody>
          </p: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1EFDE3E0-C3F1-4D3E-9F21-AF644ABB9578}"/>
                  </a:ext>
                </a:extLst>
              </p:cNvPr>
              <p:cNvSpPr txBox="1"/>
              <p:nvPr/>
            </p:nvSpPr>
            <p:spPr>
              <a:xfrm>
                <a:off x="239164" y="910098"/>
                <a:ext cx="3980553" cy="469359"/>
              </a:xfrm>
              <a:prstGeom prst="rect">
                <a:avLst/>
              </a:prstGeom>
              <a:noFill/>
            </p:spPr>
            <p:txBody>
              <a:bodyPr wrap="square" t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600" b="1" dirty="0">
                    <a:solidFill>
                      <a:prstClr val="black"/>
                    </a:solidFill>
                    <a:latin typeface="Gill Sans MT" panose="020B0502020104020203" pitchFamily="34" charset="0"/>
                    <a:cs typeface="Century Gothic"/>
                  </a:rPr>
                  <a:t>Name Name</a:t>
                </a: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ill Sans MT" panose="020B0502020104020203" pitchFamily="34" charset="0"/>
                    <a:cs typeface="Century Gothic"/>
                  </a:rPr>
                  <a:t>, </a:t>
                </a: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Gill Sans MT" panose="020B0502020104020203" pitchFamily="34" charset="0"/>
                    <a:cs typeface="Century Gothic"/>
                  </a:rPr>
                  <a:t>Title Title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200" dirty="0">
                    <a:solidFill>
                      <a:prstClr val="black"/>
                    </a:solidFill>
                    <a:latin typeface="Gill Sans MT" panose="020B0502020104020203" pitchFamily="34" charset="0"/>
                    <a:cs typeface="Century Gothic"/>
                  </a:rPr>
                  <a:t>[Insert Brief biography]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 panose="020B0502020104020203" pitchFamily="34" charset="0"/>
                  <a:cs typeface="Century Gothic"/>
                </a:endParaRPr>
              </a:p>
            </p:txBody>
          </p:sp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BDB5E2C1-4C07-478D-9194-CC4D7A21DAAB}"/>
                </a:ext>
              </a:extLst>
            </p:cNvPr>
            <p:cNvSpPr txBox="1"/>
            <p:nvPr/>
          </p:nvSpPr>
          <p:spPr>
            <a:xfrm>
              <a:off x="914400" y="2174625"/>
              <a:ext cx="786128" cy="830997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 dirty="0">
                  <a:latin typeface="Gill Sans MT" panose="020B0502020104020203" pitchFamily="34" charset="0"/>
                </a:rPr>
                <a:t>Insert headshot beside bio</a:t>
              </a:r>
              <a:endParaRPr lang="en-NG" sz="1200" dirty="0">
                <a:latin typeface="Gill Sans MT" panose="020B0502020104020203" pitchFamily="34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806E5591-99AA-4F5E-A91C-F06D466708DB}"/>
                </a:ext>
              </a:extLst>
            </p:cNvPr>
            <p:cNvSpPr txBox="1"/>
            <p:nvPr/>
          </p:nvSpPr>
          <p:spPr>
            <a:xfrm>
              <a:off x="6726980" y="2146914"/>
              <a:ext cx="786128" cy="830997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 dirty="0">
                  <a:latin typeface="Gill Sans MT" panose="020B0502020104020203" pitchFamily="34" charset="0"/>
                </a:rPr>
                <a:t>Insert headshot beside bio</a:t>
              </a:r>
              <a:endParaRPr lang="en-NG" sz="1200" dirty="0">
                <a:latin typeface="Gill Sans MT" panose="020B0502020104020203" pitchFamily="34" charset="0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5FE77268-C36D-40DD-93E6-9E4B9D90224A}"/>
              </a:ext>
            </a:extLst>
          </p:cNvPr>
          <p:cNvGrpSpPr/>
          <p:nvPr/>
        </p:nvGrpSpPr>
        <p:grpSpPr>
          <a:xfrm>
            <a:off x="926420" y="3555832"/>
            <a:ext cx="10351180" cy="858708"/>
            <a:chOff x="926420" y="3470144"/>
            <a:chExt cx="10351180" cy="858708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9832338F-B128-4259-87BE-4286369981E2}"/>
                </a:ext>
              </a:extLst>
            </p:cNvPr>
            <p:cNvGrpSpPr/>
            <p:nvPr/>
          </p:nvGrpSpPr>
          <p:grpSpPr>
            <a:xfrm>
              <a:off x="1712549" y="3485227"/>
              <a:ext cx="9565051" cy="481987"/>
              <a:chOff x="239164" y="897470"/>
              <a:chExt cx="10396690" cy="481987"/>
            </a:xfrm>
          </p:grpSpPr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44A1E8A5-815B-4D04-9653-D7970AA8658F}"/>
                  </a:ext>
                </a:extLst>
              </p:cNvPr>
              <p:cNvSpPr txBox="1"/>
              <p:nvPr/>
            </p:nvSpPr>
            <p:spPr>
              <a:xfrm>
                <a:off x="6655301" y="897470"/>
                <a:ext cx="3980553" cy="469359"/>
              </a:xfrm>
              <a:prstGeom prst="rect">
                <a:avLst/>
              </a:prstGeom>
              <a:noFill/>
            </p:spPr>
            <p:txBody>
              <a:bodyPr wrap="square" t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ill Sans MT" panose="020B0502020104020203" pitchFamily="34" charset="0"/>
                    <a:cs typeface="Century Gothic"/>
                  </a:rPr>
                  <a:t>Name Name</a:t>
                </a:r>
                <a:r>
                  <a:rPr lang="en-US" sz="1600" b="1" dirty="0">
                    <a:solidFill>
                      <a:prstClr val="black"/>
                    </a:solidFill>
                    <a:latin typeface="Gill Sans MT" panose="020B0502020104020203" pitchFamily="34" charset="0"/>
                    <a:cs typeface="Century Gothic"/>
                  </a:rPr>
                  <a:t>, Title Title</a:t>
                </a:r>
                <a:endParaRPr kumimoji="0" lang="en-US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Gill Sans MT" panose="020B0502020104020203" pitchFamily="34" charset="0"/>
                  <a:cs typeface="Century Gothic"/>
                </a:endParaRPr>
              </a:p>
              <a:p>
                <a:pPr lvl="0">
                  <a:defRPr/>
                </a:pPr>
                <a:r>
                  <a:rPr lang="en-US" sz="1200" dirty="0">
                    <a:solidFill>
                      <a:prstClr val="black"/>
                    </a:solidFill>
                    <a:latin typeface="Gill Sans MT" panose="020B0502020104020203" pitchFamily="34" charset="0"/>
                    <a:cs typeface="Century Gothic"/>
                  </a:rPr>
                  <a:t>[Insert Brief biography]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 panose="020B0502020104020203" pitchFamily="34" charset="0"/>
                  <a:cs typeface="Century Gothic"/>
                </a:endParaRP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493D8FE2-CB9D-4373-BDAE-305829DA3ACD}"/>
                  </a:ext>
                </a:extLst>
              </p:cNvPr>
              <p:cNvSpPr txBox="1"/>
              <p:nvPr/>
            </p:nvSpPr>
            <p:spPr>
              <a:xfrm>
                <a:off x="239164" y="910098"/>
                <a:ext cx="3980553" cy="469359"/>
              </a:xfrm>
              <a:prstGeom prst="rect">
                <a:avLst/>
              </a:prstGeom>
              <a:noFill/>
            </p:spPr>
            <p:txBody>
              <a:bodyPr wrap="square" t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600" b="1" dirty="0">
                    <a:solidFill>
                      <a:prstClr val="black"/>
                    </a:solidFill>
                    <a:latin typeface="Gill Sans MT" panose="020B0502020104020203" pitchFamily="34" charset="0"/>
                    <a:cs typeface="Century Gothic"/>
                  </a:rPr>
                  <a:t>Name Name</a:t>
                </a: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ill Sans MT" panose="020B0502020104020203" pitchFamily="34" charset="0"/>
                    <a:cs typeface="Century Gothic"/>
                  </a:rPr>
                  <a:t>, </a:t>
                </a: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Gill Sans MT" panose="020B0502020104020203" pitchFamily="34" charset="0"/>
                    <a:cs typeface="Century Gothic"/>
                  </a:rPr>
                  <a:t>Title Title </a:t>
                </a:r>
              </a:p>
              <a:p>
                <a:pPr lvl="0">
                  <a:defRPr/>
                </a:pPr>
                <a:r>
                  <a:rPr lang="en-US" sz="1200" dirty="0">
                    <a:solidFill>
                      <a:prstClr val="black"/>
                    </a:solidFill>
                    <a:latin typeface="Gill Sans MT" panose="020B0502020104020203" pitchFamily="34" charset="0"/>
                    <a:cs typeface="Century Gothic"/>
                  </a:rPr>
                  <a:t>[Insert Brief biography]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 panose="020B0502020104020203" pitchFamily="34" charset="0"/>
                  <a:cs typeface="Century Gothic"/>
                </a:endParaRPr>
              </a:p>
            </p:txBody>
          </p:sp>
        </p:grp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F3BC812-BF88-478E-822F-609A0FFC3055}"/>
                </a:ext>
              </a:extLst>
            </p:cNvPr>
            <p:cNvSpPr txBox="1"/>
            <p:nvPr/>
          </p:nvSpPr>
          <p:spPr>
            <a:xfrm>
              <a:off x="926420" y="3497855"/>
              <a:ext cx="786128" cy="830997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 dirty="0">
                  <a:latin typeface="Gill Sans MT" panose="020B0502020104020203" pitchFamily="34" charset="0"/>
                </a:rPr>
                <a:t>Insert headshot beside bio</a:t>
              </a:r>
              <a:endParaRPr lang="en-NG" sz="1200" dirty="0">
                <a:latin typeface="Gill Sans MT" panose="020B0502020104020203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D136CAF4-F3BD-4BFD-B304-6EBEF5AC3739}"/>
                </a:ext>
              </a:extLst>
            </p:cNvPr>
            <p:cNvSpPr txBox="1"/>
            <p:nvPr/>
          </p:nvSpPr>
          <p:spPr>
            <a:xfrm>
              <a:off x="6739000" y="3470144"/>
              <a:ext cx="786128" cy="830997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 dirty="0">
                  <a:latin typeface="Gill Sans MT" panose="020B0502020104020203" pitchFamily="34" charset="0"/>
                </a:rPr>
                <a:t>Insert headshot beside bio</a:t>
              </a:r>
              <a:endParaRPr lang="en-NG" sz="1200" dirty="0">
                <a:latin typeface="Gill Sans MT" panose="020B0502020104020203" pitchFamily="34" charset="0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BD07E30-6DAB-4BC8-9D14-749BFD02A3AE}"/>
              </a:ext>
            </a:extLst>
          </p:cNvPr>
          <p:cNvGrpSpPr/>
          <p:nvPr/>
        </p:nvGrpSpPr>
        <p:grpSpPr>
          <a:xfrm>
            <a:off x="926420" y="4964750"/>
            <a:ext cx="10351180" cy="858708"/>
            <a:chOff x="926420" y="4964750"/>
            <a:chExt cx="10351180" cy="858708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5728851C-8EC2-441F-BAC3-C69B4C3D09EF}"/>
                </a:ext>
              </a:extLst>
            </p:cNvPr>
            <p:cNvGrpSpPr/>
            <p:nvPr/>
          </p:nvGrpSpPr>
          <p:grpSpPr>
            <a:xfrm>
              <a:off x="1712549" y="4979833"/>
              <a:ext cx="9565051" cy="481987"/>
              <a:chOff x="239164" y="897470"/>
              <a:chExt cx="10396690" cy="481987"/>
            </a:xfrm>
          </p:grpSpPr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7DC273CE-3023-438F-B960-E29958169A80}"/>
                  </a:ext>
                </a:extLst>
              </p:cNvPr>
              <p:cNvSpPr txBox="1"/>
              <p:nvPr/>
            </p:nvSpPr>
            <p:spPr>
              <a:xfrm>
                <a:off x="6655301" y="897470"/>
                <a:ext cx="3980553" cy="469359"/>
              </a:xfrm>
              <a:prstGeom prst="rect">
                <a:avLst/>
              </a:prstGeom>
              <a:noFill/>
            </p:spPr>
            <p:txBody>
              <a:bodyPr wrap="square" t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ill Sans MT" panose="020B0502020104020203" pitchFamily="34" charset="0"/>
                    <a:cs typeface="Century Gothic"/>
                  </a:rPr>
                  <a:t>Name Name</a:t>
                </a:r>
                <a:r>
                  <a:rPr lang="en-US" sz="1600" b="1" dirty="0">
                    <a:solidFill>
                      <a:prstClr val="black"/>
                    </a:solidFill>
                    <a:latin typeface="Gill Sans MT" panose="020B0502020104020203" pitchFamily="34" charset="0"/>
                    <a:cs typeface="Century Gothic"/>
                  </a:rPr>
                  <a:t>, Title Title</a:t>
                </a:r>
                <a:endParaRPr kumimoji="0" lang="en-US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Gill Sans MT" panose="020B0502020104020203" pitchFamily="34" charset="0"/>
                  <a:cs typeface="Century Gothic"/>
                </a:endParaRPr>
              </a:p>
              <a:p>
                <a:pPr lvl="0">
                  <a:defRPr/>
                </a:pPr>
                <a:r>
                  <a:rPr lang="en-US" sz="1200" dirty="0">
                    <a:solidFill>
                      <a:prstClr val="black"/>
                    </a:solidFill>
                    <a:latin typeface="Gill Sans MT" panose="020B0502020104020203" pitchFamily="34" charset="0"/>
                    <a:cs typeface="Century Gothic"/>
                  </a:rPr>
                  <a:t>[Insert Brief biography]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 panose="020B0502020104020203" pitchFamily="34" charset="0"/>
                  <a:cs typeface="Century Gothic"/>
                </a:endParaRP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193CCE78-1F90-4ED9-B137-5D786017ACB2}"/>
                  </a:ext>
                </a:extLst>
              </p:cNvPr>
              <p:cNvSpPr txBox="1"/>
              <p:nvPr/>
            </p:nvSpPr>
            <p:spPr>
              <a:xfrm>
                <a:off x="239164" y="910098"/>
                <a:ext cx="3980553" cy="469359"/>
              </a:xfrm>
              <a:prstGeom prst="rect">
                <a:avLst/>
              </a:prstGeom>
              <a:noFill/>
            </p:spPr>
            <p:txBody>
              <a:bodyPr wrap="square" t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600" b="1" dirty="0">
                    <a:solidFill>
                      <a:prstClr val="black"/>
                    </a:solidFill>
                    <a:latin typeface="Gill Sans MT" panose="020B0502020104020203" pitchFamily="34" charset="0"/>
                    <a:cs typeface="Century Gothic"/>
                  </a:rPr>
                  <a:t>Name Name</a:t>
                </a: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ill Sans MT" panose="020B0502020104020203" pitchFamily="34" charset="0"/>
                    <a:cs typeface="Century Gothic"/>
                  </a:rPr>
                  <a:t>, </a:t>
                </a: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Gill Sans MT" panose="020B0502020104020203" pitchFamily="34" charset="0"/>
                    <a:cs typeface="Century Gothic"/>
                  </a:rPr>
                  <a:t>Title Title </a:t>
                </a:r>
              </a:p>
              <a:p>
                <a:pPr lvl="0">
                  <a:defRPr/>
                </a:pPr>
                <a:r>
                  <a:rPr lang="en-US" sz="1200" dirty="0">
                    <a:solidFill>
                      <a:prstClr val="black"/>
                    </a:solidFill>
                    <a:latin typeface="Gill Sans MT" panose="020B0502020104020203" pitchFamily="34" charset="0"/>
                    <a:cs typeface="Century Gothic"/>
                  </a:rPr>
                  <a:t>[Insert Brief biography]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 panose="020B0502020104020203" pitchFamily="34" charset="0"/>
                  <a:cs typeface="Century Gothic"/>
                </a:endParaRPr>
              </a:p>
            </p:txBody>
          </p:sp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005391E1-09F4-444B-A910-20546BF07A36}"/>
                </a:ext>
              </a:extLst>
            </p:cNvPr>
            <p:cNvSpPr txBox="1"/>
            <p:nvPr/>
          </p:nvSpPr>
          <p:spPr>
            <a:xfrm>
              <a:off x="926420" y="4992461"/>
              <a:ext cx="786128" cy="830997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 dirty="0">
                  <a:latin typeface="Gill Sans MT" panose="020B0502020104020203" pitchFamily="34" charset="0"/>
                </a:rPr>
                <a:t>Insert headshot beside bio</a:t>
              </a:r>
              <a:endParaRPr lang="en-NG" sz="1200" dirty="0">
                <a:latin typeface="Gill Sans MT" panose="020B0502020104020203" pitchFamily="34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AEB729F7-4E74-48FC-8835-41F3CAC8C31A}"/>
                </a:ext>
              </a:extLst>
            </p:cNvPr>
            <p:cNvSpPr txBox="1"/>
            <p:nvPr/>
          </p:nvSpPr>
          <p:spPr>
            <a:xfrm>
              <a:off x="6739000" y="4964750"/>
              <a:ext cx="786128" cy="830997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 dirty="0">
                  <a:latin typeface="Gill Sans MT" panose="020B0502020104020203" pitchFamily="34" charset="0"/>
                </a:rPr>
                <a:t>Insert headshot beside bio</a:t>
              </a:r>
              <a:endParaRPr lang="en-NG" sz="1200" dirty="0">
                <a:latin typeface="Gill Sans MT" panose="020B05020201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908565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43E5CB-248A-467E-AAC9-0A596111B1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etitive Landscap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7D299D-D676-48AB-8874-C2D6977528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[Insert tagline as necessary]</a:t>
            </a: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8DD02E7-D577-4442-AB0A-D6C407E97F5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Potential Competi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472CAE3-1725-46B5-A66F-FBAE7028CBE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/>
              <a:t>Company Name, CONFIDENTIAL, </a:t>
            </a:r>
            <a:fld id="{6652347D-A1BD-466C-AC33-29B61A3E69AB}" type="slidenum">
              <a:rPr lang="en-US" smtClean="0"/>
              <a:pPr/>
              <a:t>9</a:t>
            </a:fld>
            <a:endParaRPr lang="en-US" dirty="0"/>
          </a:p>
        </p:txBody>
      </p:sp>
      <p:graphicFrame>
        <p:nvGraphicFramePr>
          <p:cNvPr id="7" name="Table 8">
            <a:extLst>
              <a:ext uri="{FF2B5EF4-FFF2-40B4-BE49-F238E27FC236}">
                <a16:creationId xmlns:a16="http://schemas.microsoft.com/office/drawing/2014/main" id="{2A8D9405-9354-4D7B-9263-A17FC539C2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1800692"/>
              </p:ext>
            </p:extLst>
          </p:nvPr>
        </p:nvGraphicFramePr>
        <p:xfrm>
          <a:off x="929640" y="1834131"/>
          <a:ext cx="10424160" cy="4480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37360">
                  <a:extLst>
                    <a:ext uri="{9D8B030D-6E8A-4147-A177-3AD203B41FA5}">
                      <a16:colId xmlns:a16="http://schemas.microsoft.com/office/drawing/2014/main" val="3279951057"/>
                    </a:ext>
                  </a:extLst>
                </a:gridCol>
                <a:gridCol w="1737360">
                  <a:extLst>
                    <a:ext uri="{9D8B030D-6E8A-4147-A177-3AD203B41FA5}">
                      <a16:colId xmlns:a16="http://schemas.microsoft.com/office/drawing/2014/main" val="203531028"/>
                    </a:ext>
                  </a:extLst>
                </a:gridCol>
                <a:gridCol w="1737360">
                  <a:extLst>
                    <a:ext uri="{9D8B030D-6E8A-4147-A177-3AD203B41FA5}">
                      <a16:colId xmlns:a16="http://schemas.microsoft.com/office/drawing/2014/main" val="1279326974"/>
                    </a:ext>
                  </a:extLst>
                </a:gridCol>
                <a:gridCol w="1737360">
                  <a:extLst>
                    <a:ext uri="{9D8B030D-6E8A-4147-A177-3AD203B41FA5}">
                      <a16:colId xmlns:a16="http://schemas.microsoft.com/office/drawing/2014/main" val="2011850963"/>
                    </a:ext>
                  </a:extLst>
                </a:gridCol>
                <a:gridCol w="1737360">
                  <a:extLst>
                    <a:ext uri="{9D8B030D-6E8A-4147-A177-3AD203B41FA5}">
                      <a16:colId xmlns:a16="http://schemas.microsoft.com/office/drawing/2014/main" val="2756175862"/>
                    </a:ext>
                  </a:extLst>
                </a:gridCol>
                <a:gridCol w="1737360">
                  <a:extLst>
                    <a:ext uri="{9D8B030D-6E8A-4147-A177-3AD203B41FA5}">
                      <a16:colId xmlns:a16="http://schemas.microsoft.com/office/drawing/2014/main" val="4027164289"/>
                    </a:ext>
                  </a:extLst>
                </a:gridCol>
              </a:tblGrid>
              <a:tr h="640080">
                <a:tc>
                  <a:txBody>
                    <a:bodyPr/>
                    <a:lstStyle/>
                    <a:p>
                      <a:pPr algn="ctr"/>
                      <a:r>
                        <a:rPr lang="en-US" sz="1600" kern="1200" dirty="0">
                          <a:solidFill>
                            <a:schemeClr val="bg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Capabilities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kern="1200" dirty="0">
                          <a:solidFill>
                            <a:schemeClr val="bg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Company X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kern="1200" dirty="0">
                          <a:solidFill>
                            <a:schemeClr val="bg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Competitor 1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kern="1200" dirty="0">
                          <a:solidFill>
                            <a:schemeClr val="bg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Competitor 2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kern="1200" dirty="0">
                          <a:solidFill>
                            <a:schemeClr val="bg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Competitor 3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kern="1200" dirty="0">
                          <a:solidFill>
                            <a:schemeClr val="bg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Competitor 4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9657401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ctr"/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Capability 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kern="1200" dirty="0">
                        <a:solidFill>
                          <a:schemeClr val="tx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kern="1200" dirty="0">
                        <a:solidFill>
                          <a:schemeClr val="tx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kern="1200">
                        <a:solidFill>
                          <a:schemeClr val="tx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kern="1200" dirty="0">
                        <a:solidFill>
                          <a:schemeClr val="tx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kern="1200">
                        <a:solidFill>
                          <a:schemeClr val="tx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988649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ctr"/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Capability 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kern="1200" dirty="0">
                        <a:solidFill>
                          <a:schemeClr val="tx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kern="1200" dirty="0">
                        <a:solidFill>
                          <a:schemeClr val="tx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kern="1200" dirty="0">
                        <a:solidFill>
                          <a:schemeClr val="tx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kern="1200" dirty="0">
                        <a:solidFill>
                          <a:schemeClr val="tx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kern="1200" dirty="0">
                        <a:solidFill>
                          <a:schemeClr val="tx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2494627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ctr"/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Capability 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kern="1200" dirty="0">
                        <a:solidFill>
                          <a:schemeClr val="tx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kern="1200" dirty="0">
                        <a:solidFill>
                          <a:schemeClr val="tx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kern="1200" dirty="0">
                        <a:solidFill>
                          <a:schemeClr val="tx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kern="1200">
                        <a:solidFill>
                          <a:schemeClr val="tx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kern="1200">
                        <a:solidFill>
                          <a:schemeClr val="tx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2870095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Capability 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kern="1200" dirty="0">
                        <a:solidFill>
                          <a:schemeClr val="tx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kern="1200">
                        <a:solidFill>
                          <a:schemeClr val="tx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kern="1200" dirty="0">
                        <a:solidFill>
                          <a:schemeClr val="tx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kern="1200" dirty="0">
                        <a:solidFill>
                          <a:schemeClr val="tx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kern="1200">
                        <a:solidFill>
                          <a:schemeClr val="tx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1335900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Capability 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kern="1200" dirty="0">
                        <a:solidFill>
                          <a:schemeClr val="tx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kern="1200">
                        <a:solidFill>
                          <a:schemeClr val="tx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kern="1200" dirty="0">
                        <a:solidFill>
                          <a:schemeClr val="tx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kern="1200" dirty="0">
                        <a:solidFill>
                          <a:schemeClr val="tx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kern="1200" dirty="0">
                        <a:solidFill>
                          <a:schemeClr val="tx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2523456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Capability 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kern="1200" dirty="0">
                        <a:solidFill>
                          <a:schemeClr val="tx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kern="1200">
                        <a:solidFill>
                          <a:schemeClr val="tx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kern="1200" dirty="0">
                        <a:solidFill>
                          <a:schemeClr val="tx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kern="1200" dirty="0">
                        <a:solidFill>
                          <a:schemeClr val="tx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kern="1200" dirty="0">
                        <a:solidFill>
                          <a:schemeClr val="tx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41560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490247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3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UQGzfTvvWHG2UR0jRrx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AgWkIAPsKImtIJHqKdz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0eq8wAqudvA_Kv04JC5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lIERVtwrRZG6cTmRKAr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nqHOqzDuHSCTryIJNhK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d_OVni2mJVlD5Q5C6F6A"/>
</p:tagLst>
</file>

<file path=ppt/theme/theme1.xml><?xml version="1.0" encoding="utf-8"?>
<a:theme xmlns:a="http://schemas.openxmlformats.org/drawingml/2006/main" name="USAID Theme">
  <a:themeElements>
    <a:clrScheme name="USAID Palette">
      <a:dk1>
        <a:sysClr val="windowText" lastClr="000000"/>
      </a:dk1>
      <a:lt1>
        <a:srgbClr val="FFFFFF"/>
      </a:lt1>
      <a:dk2>
        <a:srgbClr val="002A6C"/>
      </a:dk2>
      <a:lt2>
        <a:srgbClr val="9DBFE5"/>
      </a:lt2>
      <a:accent1>
        <a:srgbClr val="002A6C"/>
      </a:accent1>
      <a:accent2>
        <a:srgbClr val="C2113A"/>
      </a:accent2>
      <a:accent3>
        <a:srgbClr val="9DBFE5"/>
      </a:accent3>
      <a:accent4>
        <a:srgbClr val="666666"/>
      </a:accent4>
      <a:accent5>
        <a:srgbClr val="DDDDDD"/>
      </a:accent5>
      <a:accent6>
        <a:srgbClr val="3C8A2E"/>
      </a:accent6>
      <a:hlink>
        <a:srgbClr val="80CCCC"/>
      </a:hlink>
      <a:folHlink>
        <a:srgbClr val="4066B2"/>
      </a:folHlink>
    </a:clrScheme>
    <a:fontScheme name="USAI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AEP Work Plan Presentation v2.potx" id="{21F71A4E-15FD-4ECF-B825-3881D04CA285}" vid="{0D49713C-842D-4012-9CC1-043F6E66F338}"/>
    </a:ext>
  </a:extLst>
</a:theme>
</file>

<file path=ppt/theme/theme2.xml><?xml version="1.0" encoding="utf-8"?>
<a:theme xmlns:a="http://schemas.openxmlformats.org/drawingml/2006/main" name="1_USAID Theme">
  <a:themeElements>
    <a:clrScheme name="NPSP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F2A44"/>
      </a:accent1>
      <a:accent2>
        <a:srgbClr val="BA0C2F"/>
      </a:accent2>
      <a:accent3>
        <a:srgbClr val="FFD134"/>
      </a:accent3>
      <a:accent4>
        <a:srgbClr val="D0D0CE"/>
      </a:accent4>
      <a:accent5>
        <a:srgbClr val="A7C6ED"/>
      </a:accent5>
      <a:accent6>
        <a:srgbClr val="002F62"/>
      </a:accent6>
      <a:hlink>
        <a:srgbClr val="0563C1"/>
      </a:hlink>
      <a:folHlink>
        <a:srgbClr val="954F72"/>
      </a:folHlink>
    </a:clrScheme>
    <a:fontScheme name="USAI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AEP Work Plan Presentation v2.potx" id="{21F71A4E-15FD-4ECF-B825-3881D04CA285}" vid="{0D49713C-842D-4012-9CC1-043F6E66F33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E257807E3F73D498EB58170E2874FE5" ma:contentTypeVersion="7" ma:contentTypeDescription="Create a new document." ma:contentTypeScope="" ma:versionID="baaf3b31a5eb6d81c6b73593590f0256">
  <xsd:schema xmlns:xsd="http://www.w3.org/2001/XMLSchema" xmlns:xs="http://www.w3.org/2001/XMLSchema" xmlns:p="http://schemas.microsoft.com/office/2006/metadata/properties" xmlns:ns3="641fd153-e966-4588-b656-24fadde5c674" targetNamespace="http://schemas.microsoft.com/office/2006/metadata/properties" ma:root="true" ma:fieldsID="0e58b5eb442c61ca65d5dc3598c310c0" ns3:_="">
    <xsd:import namespace="641fd153-e966-4588-b656-24fadde5c674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41fd153-e966-4588-b656-24fadde5c67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6B32E77-0E3C-4529-86B8-56D1B4500A67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641fd153-e966-4588-b656-24fadde5c674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E0D310C-7ED4-4E17-95B4-BAFD7471E54B}">
  <ds:schemaRefs>
    <ds:schemaRef ds:uri="http://schemas.microsoft.com/office/2006/metadata/properties"/>
    <ds:schemaRef ds:uri="http://www.w3.org/2000/xmlns/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0A1AC9A2-E086-4E40-A6F7-329228AB5C8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2450</TotalTime>
  <Words>646</Words>
  <Application>Microsoft Macintosh PowerPoint</Application>
  <PresentationFormat>Widescreen</PresentationFormat>
  <Paragraphs>145</Paragraphs>
  <Slides>13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3</vt:i4>
      </vt:variant>
    </vt:vector>
  </HeadingPairs>
  <TitlesOfParts>
    <vt:vector size="21" baseType="lpstr">
      <vt:lpstr>Arial</vt:lpstr>
      <vt:lpstr>Calibri</vt:lpstr>
      <vt:lpstr>Chronicle Display Black</vt:lpstr>
      <vt:lpstr>Gill Sans</vt:lpstr>
      <vt:lpstr>Gill Sans MT</vt:lpstr>
      <vt:lpstr>Söhne</vt:lpstr>
      <vt:lpstr>USAID Theme</vt:lpstr>
      <vt:lpstr>1_USAID Theme</vt:lpstr>
      <vt:lpstr>[Insert Company Name: Project/Pitch TitlE]</vt:lpstr>
      <vt:lpstr>GENERAL COMMENTS </vt:lpstr>
      <vt:lpstr>Acknowledgement </vt:lpstr>
      <vt:lpstr>Problem Statement</vt:lpstr>
      <vt:lpstr>Company X’s Solution</vt:lpstr>
      <vt:lpstr>MarKet Size</vt:lpstr>
      <vt:lpstr>Company X’s Product &amp; Market Position </vt:lpstr>
      <vt:lpstr>Our Team</vt:lpstr>
      <vt:lpstr>Competitive Landscape</vt:lpstr>
      <vt:lpstr>Company X’s Finances</vt:lpstr>
      <vt:lpstr>Investment Offering</vt:lpstr>
      <vt:lpstr>Appendix</vt:lpstr>
      <vt:lpstr>PowerPoint Presentation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hnson, Cole (US - Arlington)</dc:creator>
  <cp:lastModifiedBy>Barbara Onehi</cp:lastModifiedBy>
  <cp:revision>1256</cp:revision>
  <cp:lastPrinted>2018-12-12T13:09:15Z</cp:lastPrinted>
  <dcterms:created xsi:type="dcterms:W3CDTF">2017-06-22T18:33:25Z</dcterms:created>
  <dcterms:modified xsi:type="dcterms:W3CDTF">2023-04-08T05:54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E257807E3F73D498EB58170E2874FE5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3-03-07T22:58:41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740c908b-324f-4391-aac7-e7023ff738a0</vt:lpwstr>
  </property>
  <property fmtid="{D5CDD505-2E9C-101B-9397-08002B2CF9AE}" pid="9" name="MSIP_Label_ea60d57e-af5b-4752-ac57-3e4f28ca11dc_ContentBits">
    <vt:lpwstr>0</vt:lpwstr>
  </property>
</Properties>
</file>